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5" r:id="rId4"/>
    <p:sldMasterId id="2147483787" r:id="rId5"/>
    <p:sldMasterId id="2147483758" r:id="rId6"/>
    <p:sldMasterId id="2147483750" r:id="rId7"/>
    <p:sldMasterId id="2147483774" r:id="rId8"/>
  </p:sldMasterIdLst>
  <p:notesMasterIdLst>
    <p:notesMasterId r:id="rId14"/>
  </p:notesMasterIdLst>
  <p:handoutMasterIdLst>
    <p:handoutMasterId r:id="rId15"/>
  </p:handoutMasterIdLst>
  <p:sldIdLst>
    <p:sldId id="448" r:id="rId9"/>
    <p:sldId id="453" r:id="rId10"/>
    <p:sldId id="478" r:id="rId11"/>
    <p:sldId id="482" r:id="rId12"/>
    <p:sldId id="468" r:id="rId13"/>
  </p:sldIdLst>
  <p:sldSz cx="12190413" cy="6859588"/>
  <p:notesSz cx="9942513" cy="6810375"/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0" userDrawn="1">
          <p15:clr>
            <a:srgbClr val="A4A3A4"/>
          </p15:clr>
        </p15:guide>
        <p15:guide id="3" orient="horz" pos="2455" userDrawn="1">
          <p15:clr>
            <a:srgbClr val="A4A3A4"/>
          </p15:clr>
        </p15:guide>
        <p15:guide id="4" orient="horz" pos="709" userDrawn="1">
          <p15:clr>
            <a:srgbClr val="A4A3A4"/>
          </p15:clr>
        </p15:guide>
        <p15:guide id="6" pos="1005" userDrawn="1">
          <p15:clr>
            <a:srgbClr val="A4A3A4"/>
          </p15:clr>
        </p15:guide>
        <p15:guide id="7" pos="301" userDrawn="1">
          <p15:clr>
            <a:srgbClr val="A4A3A4"/>
          </p15:clr>
        </p15:guide>
        <p15:guide id="8" pos="7582" userDrawn="1">
          <p15:clr>
            <a:srgbClr val="A4A3A4"/>
          </p15:clr>
        </p15:guide>
        <p15:guide id="11" orient="horz" pos="1888" userDrawn="1">
          <p15:clr>
            <a:srgbClr val="A4A3A4"/>
          </p15:clr>
        </p15:guide>
        <p15:guide id="12" orient="horz" pos="3635" userDrawn="1">
          <p15:clr>
            <a:srgbClr val="A4A3A4"/>
          </p15:clr>
        </p15:guide>
        <p15:guide id="13" pos="3613" userDrawn="1">
          <p15:clr>
            <a:srgbClr val="A4A3A4"/>
          </p15:clr>
        </p15:guide>
        <p15:guide id="14" pos="4066" userDrawn="1">
          <p15:clr>
            <a:srgbClr val="A4A3A4"/>
          </p15:clr>
        </p15:guide>
        <p15:guide id="15" orient="horz" pos="1457" userDrawn="1">
          <p15:clr>
            <a:srgbClr val="A4A3A4"/>
          </p15:clr>
        </p15:guide>
        <p15:guide id="16" pos="3000" userDrawn="1">
          <p15:clr>
            <a:srgbClr val="A4A3A4"/>
          </p15:clr>
        </p15:guide>
        <p15:guide id="17" pos="4588" userDrawn="1">
          <p15:clr>
            <a:srgbClr val="A4A3A4"/>
          </p15:clr>
        </p15:guide>
        <p15:guide id="18" orient="horz" pos="2977" userDrawn="1">
          <p15:clr>
            <a:srgbClr val="A4A3A4"/>
          </p15:clr>
        </p15:guide>
        <p15:guide id="19" orient="horz" pos="1276" userDrawn="1">
          <p15:clr>
            <a:srgbClr val="A4A3A4"/>
          </p15:clr>
        </p15:guide>
        <p15:guide id="20" pos="551" userDrawn="1">
          <p15:clr>
            <a:srgbClr val="A4A3A4"/>
          </p15:clr>
        </p15:guide>
        <p15:guide id="21" pos="846" userDrawn="1">
          <p15:clr>
            <a:srgbClr val="A4A3A4"/>
          </p15:clr>
        </p15:guide>
        <p15:guide id="22" orient="horz" pos="1004" userDrawn="1">
          <p15:clr>
            <a:srgbClr val="A4A3A4"/>
          </p15:clr>
        </p15:guide>
        <p15:guide id="23" orient="horz" pos="1104" userDrawn="1">
          <p15:clr>
            <a:srgbClr val="A4A3A4"/>
          </p15:clr>
        </p15:guide>
        <p15:guide id="24" orient="horz" pos="800" userDrawn="1">
          <p15:clr>
            <a:srgbClr val="A4A3A4"/>
          </p15:clr>
        </p15:guide>
        <p15:guide id="25" orient="horz" pos="2478" userDrawn="1">
          <p15:clr>
            <a:srgbClr val="A4A3A4"/>
          </p15:clr>
        </p15:guide>
        <p15:guide id="26" pos="6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MA, Julie (DGS/MICOM)" initials="SJ(" lastIdx="1" clrIdx="0">
    <p:extLst/>
  </p:cmAuthor>
  <p:cmAuthor id="2" name="DUBOIS, Hélène (DGS/SG/DAD-BSIIP)" initials="DH(" lastIdx="6" clrIdx="1">
    <p:extLst>
      <p:ext uri="{19B8F6BF-5375-455C-9EA6-DF929625EA0E}">
        <p15:presenceInfo xmlns:p15="http://schemas.microsoft.com/office/powerpoint/2012/main" userId="S-1-5-21-27022435-3177379373-3347635678-85551" providerId="AD"/>
      </p:ext>
    </p:extLst>
  </p:cmAuthor>
  <p:cmAuthor id="3" name="Marie ALLOUARD" initials="MA" lastIdx="1" clrIdx="2">
    <p:extLst>
      <p:ext uri="{19B8F6BF-5375-455C-9EA6-DF929625EA0E}">
        <p15:presenceInfo xmlns:p15="http://schemas.microsoft.com/office/powerpoint/2012/main" userId="S-1-5-21-3641078771-3653456904-245653651-1466449" providerId="AD"/>
      </p:ext>
    </p:extLst>
  </p:cmAuthor>
  <p:cmAuthor id="4" name="SAKHO, Moussa (DGS/SG/DAD)" initials="SM(" lastIdx="10" clrIdx="3">
    <p:extLst>
      <p:ext uri="{19B8F6BF-5375-455C-9EA6-DF929625EA0E}">
        <p15:presenceInfo xmlns:p15="http://schemas.microsoft.com/office/powerpoint/2012/main" userId="S-1-5-21-27022435-3177379373-3347635678-11819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2E72B0"/>
    <a:srgbClr val="C00000"/>
    <a:srgbClr val="E97B7B"/>
    <a:srgbClr val="DCE6F2"/>
    <a:srgbClr val="8890BB"/>
    <a:srgbClr val="8064A2"/>
    <a:srgbClr val="F79443"/>
    <a:srgbClr val="93CDDD"/>
    <a:srgbClr val="D8D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Style à thème 1 - Accentuation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074" autoAdjust="0"/>
    <p:restoredTop sz="94343" autoAdjust="0"/>
  </p:normalViewPr>
  <p:slideViewPr>
    <p:cSldViewPr snapToGrid="0">
      <p:cViewPr varScale="1">
        <p:scale>
          <a:sx n="94" d="100"/>
          <a:sy n="94" d="100"/>
        </p:scale>
        <p:origin x="114" y="468"/>
      </p:cViewPr>
      <p:guideLst>
        <p:guide orient="horz" pos="4020"/>
        <p:guide orient="horz" pos="2455"/>
        <p:guide orient="horz" pos="709"/>
        <p:guide pos="1005"/>
        <p:guide pos="301"/>
        <p:guide pos="7582"/>
        <p:guide orient="horz" pos="1888"/>
        <p:guide orient="horz" pos="3635"/>
        <p:guide pos="3613"/>
        <p:guide pos="4066"/>
        <p:guide orient="horz" pos="1457"/>
        <p:guide pos="3000"/>
        <p:guide pos="4588"/>
        <p:guide orient="horz" pos="2977"/>
        <p:guide orient="horz" pos="1276"/>
        <p:guide pos="551"/>
        <p:guide pos="846"/>
        <p:guide orient="horz" pos="1004"/>
        <p:guide orient="horz" pos="1104"/>
        <p:guide orient="horz" pos="800"/>
        <p:guide orient="horz" pos="2478"/>
        <p:guide pos="68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244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5630687" y="0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r">
              <a:defRPr sz="1200"/>
            </a:lvl1pPr>
          </a:lstStyle>
          <a:p>
            <a:fld id="{07AEEAB5-2C3A-423F-8EE9-474FF60FD7E4}" type="datetimeFigureOut">
              <a:rPr lang="fr-FR" smtClean="0"/>
              <a:t>16/12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6469475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5630687" y="6469475"/>
            <a:ext cx="4309506" cy="3409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r">
              <a:defRPr sz="1200"/>
            </a:lvl1pPr>
          </a:lstStyle>
          <a:p>
            <a:fld id="{CD584776-D907-453B-8B38-591991522DB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02628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5631792" y="0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/>
          <a:lstStyle>
            <a:lvl1pPr algn="r">
              <a:defRPr sz="1200"/>
            </a:lvl1pPr>
          </a:lstStyle>
          <a:p>
            <a:fld id="{4308C419-FCC7-46D0-925F-4D245798B981}" type="datetimeFigureOut">
              <a:rPr lang="fr-FR" smtClean="0"/>
              <a:t>16/1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930525" y="852488"/>
            <a:ext cx="4081463" cy="22971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95" tIns="45798" rIns="91595" bIns="45798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994253" y="3277493"/>
            <a:ext cx="7954010" cy="2681586"/>
          </a:xfrm>
          <a:prstGeom prst="rect">
            <a:avLst/>
          </a:prstGeom>
        </p:spPr>
        <p:txBody>
          <a:bodyPr vert="horz" lIns="91595" tIns="45798" rIns="91595" bIns="45798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6468675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5631792" y="6468675"/>
            <a:ext cx="4308422" cy="341701"/>
          </a:xfrm>
          <a:prstGeom prst="rect">
            <a:avLst/>
          </a:prstGeom>
        </p:spPr>
        <p:txBody>
          <a:bodyPr vert="horz" lIns="91595" tIns="45798" rIns="91595" bIns="45798" rtlCol="0" anchor="b"/>
          <a:lstStyle>
            <a:lvl1pPr algn="r">
              <a:defRPr sz="1200"/>
            </a:lvl1pPr>
          </a:lstStyle>
          <a:p>
            <a:fld id="{96129EA7-38A1-468F-8FEE-6574E476B64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7884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GS_Diapo_Texte_Sans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435902"/>
            <a:ext cx="814678" cy="309704"/>
          </a:xfrm>
          <a:prstGeom prst="rect">
            <a:avLst/>
          </a:prstGeom>
        </p:spPr>
        <p:txBody>
          <a:bodyPr lIns="121917" tIns="60958" rIns="121917" bIns="60958"/>
          <a:lstStyle>
            <a:lvl1pPr algn="ctr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17807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12699" indent="114286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744" y="2277400"/>
            <a:ext cx="1123098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7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" name="Titre 1"/>
          <p:cNvSpPr txBox="1">
            <a:spLocks/>
          </p:cNvSpPr>
          <p:nvPr userDrawn="1"/>
        </p:nvSpPr>
        <p:spPr>
          <a:xfrm>
            <a:off x="1197154" y="79186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044229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15" y="2085334"/>
            <a:ext cx="3359563" cy="3841316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5425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0912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7" name="Titre 1"/>
          <p:cNvSpPr txBox="1">
            <a:spLocks/>
          </p:cNvSpPr>
          <p:nvPr userDrawn="1"/>
        </p:nvSpPr>
        <p:spPr>
          <a:xfrm>
            <a:off x="1197154" y="92837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1366687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1315" y="2277400"/>
            <a:ext cx="3408184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239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6677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315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5244" y="2277400"/>
            <a:ext cx="7487857" cy="3841316"/>
          </a:xfrm>
        </p:spPr>
        <p:txBody>
          <a:bodyPr/>
          <a:lstStyle/>
          <a:p>
            <a:r>
              <a:rPr lang="fr-FR" dirty="0" smtClean="0"/>
              <a:t>Cliquez sur l'icône pour ajouter une imag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2525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1315" y="2277401"/>
            <a:ext cx="7680384" cy="3840522"/>
          </a:xfrm>
        </p:spPr>
        <p:txBody>
          <a:bodyPr/>
          <a:lstStyle/>
          <a:p>
            <a:r>
              <a:rPr lang="fr-FR" dirty="0" smtClean="0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772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4" y="2853597"/>
            <a:ext cx="11230538" cy="305834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122752" indent="0">
              <a:spcBef>
                <a:spcPts val="667"/>
              </a:spcBef>
              <a:spcAft>
                <a:spcPts val="0"/>
              </a:spcAft>
              <a:buNone/>
              <a:tabLst/>
              <a:defRPr sz="2467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4"/>
            <a:ext cx="1613703" cy="46126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endParaRPr lang="fr-FR" cap="all" dirty="0"/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F578734-7B6B-B848-8F7C-20D24745B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9970" y="164675"/>
            <a:ext cx="2687297" cy="2093157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401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228"/>
            <a:ext cx="12190413" cy="5926649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85650" y="6398324"/>
            <a:ext cx="1559797" cy="46126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endParaRPr lang="fr-FR" cap="all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37" y="984228"/>
            <a:ext cx="11230538" cy="5396449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527934" indent="-527934">
              <a:buFont typeface="+mj-lt"/>
              <a:buAutoNum type="arabicPeriod"/>
              <a:defRPr sz="4333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13017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9532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959875" y="5830616"/>
            <a:ext cx="4319438" cy="597401"/>
          </a:xfrm>
          <a:prstGeom prst="rect">
            <a:avLst/>
          </a:prstGeom>
        </p:spPr>
        <p:txBody>
          <a:bodyPr anchor="ctr" anchorCtr="0"/>
          <a:lstStyle>
            <a:lvl1pPr algn="l">
              <a:defRPr sz="1533"/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9532"/>
            <a:ext cx="239969" cy="240056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6472" y="260710"/>
            <a:ext cx="4754750" cy="3703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061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>
  <p:cSld name="One column tex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7"/>
          <p:cNvSpPr txBox="1">
            <a:spLocks noGrp="1"/>
          </p:cNvSpPr>
          <p:nvPr>
            <p:ph type="title"/>
          </p:nvPr>
        </p:nvSpPr>
        <p:spPr>
          <a:xfrm>
            <a:off x="6582743" y="720167"/>
            <a:ext cx="4647795" cy="270942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accen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subTitle" idx="1"/>
          </p:nvPr>
        </p:nvSpPr>
        <p:spPr>
          <a:xfrm>
            <a:off x="6582743" y="3429794"/>
            <a:ext cx="4647795" cy="260860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76534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47223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4" y="6398323"/>
            <a:ext cx="1559797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6A4A60EE-9D13-3442-9796-E718C6343EC1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12699" indent="114289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744" y="2277399"/>
            <a:ext cx="1123098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322825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ag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38251" y="165399"/>
            <a:ext cx="1466741" cy="612142"/>
          </a:xfrm>
          <a:prstGeom prst="rect">
            <a:avLst/>
          </a:prstGeom>
        </p:spPr>
      </p:pic>
      <p:sp>
        <p:nvSpPr>
          <p:cNvPr id="25" name="Titre 1"/>
          <p:cNvSpPr txBox="1">
            <a:spLocks/>
          </p:cNvSpPr>
          <p:nvPr userDrawn="1"/>
        </p:nvSpPr>
        <p:spPr>
          <a:xfrm>
            <a:off x="1557078" y="163138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12" name="Rectangle 9"/>
          <p:cNvSpPr>
            <a:spLocks noChangeArrowheads="1"/>
          </p:cNvSpPr>
          <p:nvPr userDrawn="1"/>
        </p:nvSpPr>
        <p:spPr bwMode="auto">
          <a:xfrm flipV="1">
            <a:off x="1248329" y="590937"/>
            <a:ext cx="9262794" cy="36008"/>
          </a:xfrm>
          <a:prstGeom prst="rect">
            <a:avLst/>
          </a:prstGeom>
          <a:solidFill>
            <a:srgbClr val="00419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64348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ter Slide" type="title" preserve="1">
  <p:cSld name="Master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sldNum" idx="12"/>
          </p:nvPr>
        </p:nvSpPr>
        <p:spPr>
          <a:xfrm>
            <a:off x="5989968" y="6430866"/>
            <a:ext cx="210477" cy="14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634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GS_Diapo_Texte_Titre 1 lig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435902"/>
            <a:ext cx="814678" cy="309704"/>
          </a:xfrm>
          <a:prstGeom prst="rect">
            <a:avLst/>
          </a:prstGeom>
        </p:spPr>
        <p:txBody>
          <a:bodyPr lIns="121917" tIns="60958" rIns="121917" bIns="60958"/>
          <a:lstStyle>
            <a:lvl1pPr algn="ctr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7166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GS_Diapo_Texte_Sans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435902"/>
            <a:ext cx="814678" cy="309704"/>
          </a:xfrm>
          <a:prstGeom prst="rect">
            <a:avLst/>
          </a:prstGeom>
        </p:spPr>
        <p:txBody>
          <a:bodyPr lIns="121917" tIns="60958" rIns="121917" bIns="60958"/>
          <a:lstStyle>
            <a:lvl1pPr algn="ctr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5278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ter Slide" type="title">
  <p:cSld name="Master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sldNum" idx="12"/>
          </p:nvPr>
        </p:nvSpPr>
        <p:spPr>
          <a:xfrm>
            <a:off x="5989968" y="6430866"/>
            <a:ext cx="210477" cy="14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3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7"/>
          <p:cNvSpPr txBox="1">
            <a:spLocks noGrp="1"/>
          </p:cNvSpPr>
          <p:nvPr>
            <p:ph type="title"/>
          </p:nvPr>
        </p:nvSpPr>
        <p:spPr>
          <a:xfrm>
            <a:off x="6582743" y="720167"/>
            <a:ext cx="4647795" cy="270942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accen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subTitle" idx="1"/>
          </p:nvPr>
        </p:nvSpPr>
        <p:spPr>
          <a:xfrm>
            <a:off x="6582743" y="3429794"/>
            <a:ext cx="4647795" cy="260860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2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280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12699" indent="114286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744" y="2277400"/>
            <a:ext cx="1123098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7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" name="Titre 1"/>
          <p:cNvSpPr txBox="1">
            <a:spLocks/>
          </p:cNvSpPr>
          <p:nvPr userDrawn="1"/>
        </p:nvSpPr>
        <p:spPr>
          <a:xfrm>
            <a:off x="1197154" y="79186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2117293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15" y="2085334"/>
            <a:ext cx="3359563" cy="3841316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5425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0912" y="2085334"/>
            <a:ext cx="3359563" cy="3815232"/>
          </a:xfrm>
        </p:spPr>
        <p:txBody>
          <a:bodyPr/>
          <a:lstStyle>
            <a:lvl1pPr marL="191976" indent="-191976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7" name="Titre 1"/>
          <p:cNvSpPr txBox="1">
            <a:spLocks/>
          </p:cNvSpPr>
          <p:nvPr userDrawn="1"/>
        </p:nvSpPr>
        <p:spPr>
          <a:xfrm>
            <a:off x="1197154" y="92837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1037461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1315" y="2277400"/>
            <a:ext cx="3408184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239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2292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14" y="2085333"/>
            <a:ext cx="3359563" cy="3841316"/>
          </a:xfrm>
        </p:spPr>
        <p:txBody>
          <a:bodyPr/>
          <a:lstStyle>
            <a:lvl1pPr marL="191981" indent="-191981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5425" y="2085333"/>
            <a:ext cx="3359563" cy="3815233"/>
          </a:xfrm>
        </p:spPr>
        <p:txBody>
          <a:bodyPr/>
          <a:lstStyle>
            <a:lvl1pPr marL="191981" indent="-191981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0911" y="2085333"/>
            <a:ext cx="3359563" cy="3815233"/>
          </a:xfrm>
        </p:spPr>
        <p:txBody>
          <a:bodyPr/>
          <a:lstStyle>
            <a:lvl1pPr marL="191981" indent="-191981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251C71F6-E0A6-1740-B64F-38F332886BAF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22250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315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5244" y="2277400"/>
            <a:ext cx="7487857" cy="3841316"/>
          </a:xfrm>
        </p:spPr>
        <p:txBody>
          <a:bodyPr/>
          <a:lstStyle/>
          <a:p>
            <a:r>
              <a:rPr lang="fr-FR" dirty="0" smtClean="0"/>
              <a:t>Cliquez sur l'icône pour ajouter une imag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3722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303164" y="2277400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2"/>
            <a:ext cx="11231357" cy="324010"/>
          </a:xfrm>
        </p:spPr>
        <p:txBody>
          <a:bodyPr/>
          <a:lstStyle>
            <a:lvl1pPr marL="0" indent="12698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46" indent="-191976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9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1315" y="2277401"/>
            <a:ext cx="7680384" cy="3840522"/>
          </a:xfrm>
        </p:spPr>
        <p:txBody>
          <a:bodyPr/>
          <a:lstStyle/>
          <a:p>
            <a:r>
              <a:rPr lang="fr-FR" dirty="0" smtClean="0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86880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4" y="2853597"/>
            <a:ext cx="11230538" cy="305834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122752" indent="0">
              <a:spcBef>
                <a:spcPts val="667"/>
              </a:spcBef>
              <a:spcAft>
                <a:spcPts val="0"/>
              </a:spcAft>
              <a:buNone/>
              <a:tabLst/>
              <a:defRPr sz="2467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4"/>
            <a:ext cx="1613703" cy="46126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endParaRPr lang="fr-FR" cap="all" dirty="0"/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F578734-7B6B-B848-8F7C-20D24745B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9970" y="164675"/>
            <a:ext cx="2687297" cy="2093157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55799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228"/>
            <a:ext cx="12190413" cy="5926649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85650" y="6398324"/>
            <a:ext cx="1559797" cy="46126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endParaRPr lang="fr-FR" cap="all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37" y="984228"/>
            <a:ext cx="11230538" cy="5396449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527934" indent="-527934">
              <a:buFont typeface="+mj-lt"/>
              <a:buAutoNum type="arabicPeriod"/>
              <a:defRPr sz="4333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6439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9532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959875" y="5830616"/>
            <a:ext cx="4319438" cy="597401"/>
          </a:xfrm>
          <a:prstGeom prst="rect">
            <a:avLst/>
          </a:prstGeom>
        </p:spPr>
        <p:txBody>
          <a:bodyPr anchor="ctr" anchorCtr="0"/>
          <a:lstStyle>
            <a:lvl1pPr algn="l">
              <a:defRPr sz="1533"/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9532"/>
            <a:ext cx="239969" cy="240056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6472" y="260710"/>
            <a:ext cx="4754750" cy="3703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029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895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ag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38251" y="165399"/>
            <a:ext cx="1466741" cy="612142"/>
          </a:xfrm>
          <a:prstGeom prst="rect">
            <a:avLst/>
          </a:prstGeom>
        </p:spPr>
      </p:pic>
      <p:sp>
        <p:nvSpPr>
          <p:cNvPr id="25" name="Titre 1"/>
          <p:cNvSpPr txBox="1">
            <a:spLocks/>
          </p:cNvSpPr>
          <p:nvPr userDrawn="1"/>
        </p:nvSpPr>
        <p:spPr>
          <a:xfrm>
            <a:off x="1557078" y="163138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12" name="Rectangle 9"/>
          <p:cNvSpPr>
            <a:spLocks noChangeArrowheads="1"/>
          </p:cNvSpPr>
          <p:nvPr userDrawn="1"/>
        </p:nvSpPr>
        <p:spPr bwMode="auto">
          <a:xfrm flipV="1">
            <a:off x="1248329" y="590937"/>
            <a:ext cx="9262794" cy="36008"/>
          </a:xfrm>
          <a:prstGeom prst="rect">
            <a:avLst/>
          </a:prstGeom>
          <a:solidFill>
            <a:srgbClr val="00419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9863667" y="6379477"/>
            <a:ext cx="1799766" cy="480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0151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ter Slide" type="title">
  <p:cSld name="Master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sldNum" idx="12"/>
          </p:nvPr>
        </p:nvSpPr>
        <p:spPr>
          <a:xfrm>
            <a:off x="5989968" y="6430866"/>
            <a:ext cx="210477" cy="14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500"/>
              <a:buFont typeface="Helvetica Neue"/>
              <a:buNone/>
              <a:defRPr sz="1055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008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5E6183FC-BA60-7C49-ABF3-B50982741576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0" indent="12698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1315" y="2277399"/>
            <a:ext cx="3408184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239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03164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793425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314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0597CDB5-73DC-8641-8CC1-FAD9379FD627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0" indent="12698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5243" y="2277399"/>
            <a:ext cx="7487857" cy="3841316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098309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303164" y="2277399"/>
            <a:ext cx="3359563" cy="384131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8E1290DD-BE4D-794B-919C-D565D1B9C67D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5" y="1665291"/>
            <a:ext cx="11231357" cy="324010"/>
          </a:xfrm>
        </p:spPr>
        <p:txBody>
          <a:bodyPr/>
          <a:lstStyle>
            <a:lvl1pPr marL="0" indent="12698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57" indent="-191981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745" y="910613"/>
            <a:ext cx="11231688" cy="720155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1315" y="2277400"/>
            <a:ext cx="7680384" cy="3840522"/>
          </a:xfrm>
        </p:spPr>
        <p:txBody>
          <a:bodyPr/>
          <a:lstStyle/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6942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744" y="2853597"/>
            <a:ext cx="11230538" cy="305834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122754" indent="0">
              <a:spcBef>
                <a:spcPts val="667"/>
              </a:spcBef>
              <a:spcAft>
                <a:spcPts val="0"/>
              </a:spcAft>
              <a:buNone/>
              <a:tabLst/>
              <a:defRPr sz="2466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>
            <a:cxnSpLocks/>
          </p:cNvCxnSpPr>
          <p:nvPr/>
        </p:nvCxnSpPr>
        <p:spPr bwMode="gray">
          <a:xfrm>
            <a:off x="431744" y="6380677"/>
            <a:ext cx="1123135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745" y="6398323"/>
            <a:ext cx="1613703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7698221-35EF-134F-B87A-568DECC70F29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6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F578734-7B6B-B848-8F7C-20D24745B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9970" y="266702"/>
            <a:ext cx="3031913" cy="1914665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82644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228"/>
            <a:ext cx="12190413" cy="5926649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85650" y="6398323"/>
            <a:ext cx="1559797" cy="4612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fld id="{5F7325A3-5315-1B4B-A0D9-112471EB5837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36" y="984228"/>
            <a:ext cx="11230538" cy="5396449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527947" indent="-527947">
              <a:buFont typeface="+mj-lt"/>
              <a:buAutoNum type="arabicPeriod"/>
              <a:defRPr sz="4333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3666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394097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9532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4EA19884-7A29-DC4E-9311-A62E54788E52}" type="datetime1">
              <a:rPr lang="fr-FR" smtClean="0"/>
              <a:t>16/12/2022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959875" y="5830616"/>
            <a:ext cx="4319438" cy="597401"/>
          </a:xfrm>
          <a:prstGeom prst="rect">
            <a:avLst/>
          </a:prstGeom>
        </p:spPr>
        <p:txBody>
          <a:bodyPr anchor="ctr" anchorCtr="0"/>
          <a:lstStyle>
            <a:lvl1pPr algn="l">
              <a:defRPr sz="1533"/>
            </a:lvl1pPr>
          </a:lstStyle>
          <a:p>
            <a:r>
              <a:rPr lang="fr-FR" dirty="0" smtClean="0"/>
              <a:t>Direction générale</a:t>
            </a:r>
          </a:p>
          <a:p>
            <a:r>
              <a:rPr lang="fr-FR" dirty="0" smtClean="0"/>
              <a:t>de la santé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9532"/>
            <a:ext cx="239969" cy="240056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39969" cy="240056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6471" y="611141"/>
            <a:ext cx="5527886" cy="3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4026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45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</p:sldLayoutIdLst>
  <p:timing>
    <p:tnLst>
      <p:par>
        <p:cTn id="1" dur="indefinite" restart="never" nodeType="tmRoot"/>
      </p:par>
    </p:tnLst>
  </p:timing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31745" y="2277400"/>
            <a:ext cx="11231688" cy="39373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9863666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431744" y="6380677"/>
            <a:ext cx="1123135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45" y="910613"/>
            <a:ext cx="11231688" cy="720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0883" y="6379478"/>
            <a:ext cx="2742843" cy="3662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B858D49A-5A7A-574D-A0ED-52B5C1EFA876}" type="datetime1">
              <a:rPr lang="fr-FR" cap="all" smtClean="0"/>
              <a:pPr/>
              <a:t>16/12/2022</a:t>
            </a:fld>
            <a:endParaRPr lang="fr-FR" cap="all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/>
        </p:nvCxnSpPr>
        <p:spPr bwMode="gray">
          <a:xfrm>
            <a:off x="479938" y="6380677"/>
            <a:ext cx="11230538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433B51AF-3A50-3342-8D79-F2F92F59917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3949" y="68643"/>
            <a:ext cx="1262369" cy="797191"/>
          </a:xfrm>
          <a:prstGeom prst="rect">
            <a:avLst/>
          </a:prstGeom>
        </p:spPr>
      </p:pic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4545" y="260708"/>
            <a:ext cx="7838888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a san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9681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</p:sldLayoutIdLst>
  <p:hf hdr="0"/>
  <p:txStyles>
    <p:titleStyle>
      <a:lvl1pPr marL="19049" indent="0" algn="l" defTabSz="1219078" rtl="0" eaLnBrk="1" latinLnBrk="0" hangingPunct="1">
        <a:lnSpc>
          <a:spcPct val="90000"/>
        </a:lnSpc>
        <a:spcBef>
          <a:spcPct val="0"/>
        </a:spcBef>
        <a:buNone/>
        <a:tabLst/>
        <a:defRPr sz="33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2754" indent="0" algn="l" defTabSz="1219078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tabLst/>
        <a:defRPr sz="1866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8553" indent="-228577" algn="l" defTabSz="1219078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08529" indent="-228577" algn="l" defTabSz="121907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948505" indent="-228577" algn="l" defTabSz="121907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anose="020B0604020202020204" pitchFamily="34" charset="0"/>
        <a:buChar char="•"/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236476" indent="-228577" algn="l" defTabSz="121907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indent="0" algn="l" defTabSz="1219078" rtl="0" eaLnBrk="1" latinLnBrk="0" hangingPunct="1">
        <a:spcBef>
          <a:spcPct val="20000"/>
        </a:spcBef>
        <a:buFont typeface="Arial" pitchFamily="34" charset="0"/>
        <a:buNone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31745" y="2277401"/>
            <a:ext cx="11231689" cy="39373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45" y="910613"/>
            <a:ext cx="11231689" cy="720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538251" y="281942"/>
            <a:ext cx="1466741" cy="612142"/>
          </a:xfrm>
          <a:prstGeom prst="rect">
            <a:avLst/>
          </a:prstGeom>
        </p:spPr>
      </p:pic>
      <p:sp>
        <p:nvSpPr>
          <p:cNvPr id="10" name="Rectangle 9"/>
          <p:cNvSpPr>
            <a:spLocks noChangeArrowheads="1"/>
          </p:cNvSpPr>
          <p:nvPr userDrawn="1"/>
        </p:nvSpPr>
        <p:spPr bwMode="auto">
          <a:xfrm flipV="1">
            <a:off x="1161554" y="703745"/>
            <a:ext cx="9358782" cy="28807"/>
          </a:xfrm>
          <a:prstGeom prst="rect">
            <a:avLst/>
          </a:prstGeom>
          <a:solidFill>
            <a:srgbClr val="00419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Titre 1"/>
          <p:cNvSpPr txBox="1">
            <a:spLocks/>
          </p:cNvSpPr>
          <p:nvPr userDrawn="1"/>
        </p:nvSpPr>
        <p:spPr>
          <a:xfrm>
            <a:off x="1197154" y="195729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433B51AF-3A50-3342-8D79-F2F92F59917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3949" y="68643"/>
            <a:ext cx="1262369" cy="797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86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marL="19048" indent="0" algn="l" defTabSz="1219048" rtl="0" eaLnBrk="1" latinLnBrk="0" hangingPunct="1">
        <a:lnSpc>
          <a:spcPct val="90000"/>
        </a:lnSpc>
        <a:spcBef>
          <a:spcPct val="0"/>
        </a:spcBef>
        <a:buNone/>
        <a:tabLst/>
        <a:defRPr sz="33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2752" indent="0" algn="l" defTabSz="1219048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tabLst/>
        <a:defRPr sz="186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8541" indent="-228571" algn="l" defTabSz="1219048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0851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94848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anose="020B0604020202020204" pitchFamily="34" charset="0"/>
        <a:buChar char="•"/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236445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indent="0" algn="l" defTabSz="1219048" rtl="0" eaLnBrk="1" latinLnBrk="0" hangingPunct="1">
        <a:spcBef>
          <a:spcPct val="20000"/>
        </a:spcBef>
        <a:buFont typeface="Arial" pitchFamily="34" charset="0"/>
        <a:buNone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  <p15:guide id="3" orient="horz" pos="73">
          <p15:clr>
            <a:srgbClr val="F26B43"/>
          </p15:clr>
        </p15:guide>
        <p15:guide id="4" orient="horz" pos="300">
          <p15:clr>
            <a:srgbClr val="F26B43"/>
          </p15:clr>
        </p15:guide>
        <p15:guide id="5" orient="horz" pos="48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6506092"/>
            <a:ext cx="12190413" cy="360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943205" y="6560092"/>
            <a:ext cx="814678" cy="252000"/>
          </a:xfrm>
          <a:prstGeom prst="rect">
            <a:avLst/>
          </a:prstGeom>
        </p:spPr>
        <p:txBody>
          <a:bodyPr lIns="121917" tIns="60958" rIns="121917" bIns="60958" anchor="ctr"/>
          <a:lstStyle>
            <a:lvl1pPr algn="ctr"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1EA4696-CE7E-4B16-ADD7-937198B6ED54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292600" y="6584492"/>
            <a:ext cx="360680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Charte d’usage Géo’DAE – Base nationale</a:t>
            </a:r>
            <a:r>
              <a:rPr lang="fr-FR" sz="10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des défibrillateurs</a:t>
            </a:r>
            <a:endParaRPr lang="fr-FR" sz="1000" b="1" noProof="0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90525" y="548200"/>
            <a:ext cx="1080000" cy="7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525" y="6560151"/>
            <a:ext cx="257175" cy="25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401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7" r:id="rId2"/>
    <p:sldLayoutId id="2147483771" r:id="rId3"/>
    <p:sldLayoutId id="2147483772" r:id="rId4"/>
    <p:sldLayoutId id="214748377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marL="0" algn="l" defTabSz="1219170" rtl="0" eaLnBrk="1" latinLnBrk="0" hangingPunct="1">
        <a:spcBef>
          <a:spcPct val="0"/>
        </a:spcBef>
        <a:buNone/>
        <a:defRPr lang="fr-FR" sz="2400" b="1" i="1" kern="1200" dirty="0">
          <a:solidFill>
            <a:schemeClr val="bg1"/>
          </a:solidFill>
          <a:latin typeface="Cambria" panose="02040503050406030204" pitchFamily="18" charset="0"/>
          <a:ea typeface="+mn-ea"/>
          <a:cs typeface="+mn-cs"/>
        </a:defRPr>
      </a:lvl1pPr>
    </p:titleStyle>
    <p:bodyStyle>
      <a:lvl1pPr marL="380990" indent="-380990" algn="l" defTabSz="1219170" rtl="0" eaLnBrk="1" latinLnBrk="0" hangingPunct="1">
        <a:spcBef>
          <a:spcPct val="20000"/>
        </a:spcBef>
        <a:spcAft>
          <a:spcPts val="1600"/>
        </a:spcAft>
        <a:buFont typeface="Arial" panose="020B0604020202020204" pitchFamily="34" charset="0"/>
        <a:buChar char="•"/>
        <a:defRPr lang="fr-FR" sz="2300" b="1" i="0" u="none" strike="noStrike" kern="1200" baseline="0" dirty="0" smtClean="0">
          <a:solidFill>
            <a:srgbClr val="3C4693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800"/>
        </a:spcBef>
        <a:spcAft>
          <a:spcPts val="800"/>
        </a:spcAft>
        <a:buFont typeface="Arial" panose="020B0604020202020204" pitchFamily="34" charset="0"/>
        <a:buNone/>
        <a:defRPr lang="fr-FR" sz="2000" b="1" kern="1200" dirty="0" smtClean="0">
          <a:solidFill>
            <a:srgbClr val="C8D223"/>
          </a:solidFill>
          <a:latin typeface="+mj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285943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31745" y="2277401"/>
            <a:ext cx="11231689" cy="39373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45" y="910613"/>
            <a:ext cx="11231689" cy="720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506094"/>
            <a:ext cx="12190413" cy="360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143"/>
            <a:endParaRPr lang="en-GB" sz="1800" dirty="0"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675652" y="6584494"/>
            <a:ext cx="6839110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se nationale des défibrillateurs automatisé</a:t>
            </a:r>
            <a:r>
              <a:rPr lang="fr-FR" sz="1400" b="1" baseline="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 externes – </a:t>
            </a:r>
            <a:r>
              <a:rPr lang="fr-FR" sz="1400" b="1" baseline="0" noProof="0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éo’DAE</a:t>
            </a:r>
            <a:endParaRPr lang="fr-FR" sz="1400" b="1" baseline="0" noProof="0" dirty="0" smtClean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538251" y="308836"/>
            <a:ext cx="1466741" cy="612142"/>
          </a:xfrm>
          <a:prstGeom prst="rect">
            <a:avLst/>
          </a:prstGeom>
        </p:spPr>
      </p:pic>
      <p:sp>
        <p:nvSpPr>
          <p:cNvPr id="10" name="Rectangle 9"/>
          <p:cNvSpPr>
            <a:spLocks noChangeArrowheads="1"/>
          </p:cNvSpPr>
          <p:nvPr userDrawn="1"/>
        </p:nvSpPr>
        <p:spPr bwMode="auto">
          <a:xfrm flipV="1">
            <a:off x="1161554" y="730639"/>
            <a:ext cx="9358782" cy="28807"/>
          </a:xfrm>
          <a:prstGeom prst="rect">
            <a:avLst/>
          </a:prstGeom>
          <a:solidFill>
            <a:srgbClr val="00419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Titre 1"/>
          <p:cNvSpPr txBox="1">
            <a:spLocks/>
          </p:cNvSpPr>
          <p:nvPr userDrawn="1"/>
        </p:nvSpPr>
        <p:spPr>
          <a:xfrm>
            <a:off x="1197154" y="222623"/>
            <a:ext cx="7163067" cy="4681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defPPr>
              <a:defRPr lang="fr-FR"/>
            </a:defPPr>
            <a:lvl1pPr fontAlgn="auto">
              <a:lnSpc>
                <a:spcPct val="90000"/>
              </a:lnSpc>
              <a:spcAft>
                <a:spcPts val="0"/>
              </a:spcAft>
              <a:defRPr sz="2400" b="1">
                <a:latin typeface="Candara" panose="020E0502030303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9863667" y="6379477"/>
            <a:ext cx="1799766" cy="4801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33B51AF-3A50-3342-8D79-F2F92F59917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3949" y="68643"/>
            <a:ext cx="1262369" cy="797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364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4" r:id="rId9"/>
    <p:sldLayoutId id="2147483785" r:id="rId10"/>
    <p:sldLayoutId id="214748378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19048" indent="0" algn="l" defTabSz="1219048" rtl="0" eaLnBrk="1" latinLnBrk="0" hangingPunct="1">
        <a:lnSpc>
          <a:spcPct val="90000"/>
        </a:lnSpc>
        <a:spcBef>
          <a:spcPct val="0"/>
        </a:spcBef>
        <a:buNone/>
        <a:tabLst/>
        <a:defRPr sz="33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2752" indent="0" algn="l" defTabSz="1219048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tabLst/>
        <a:defRPr sz="186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8541" indent="-228571" algn="l" defTabSz="1219048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0851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948481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anose="020B0604020202020204" pitchFamily="34" charset="0"/>
        <a:buChar char="•"/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236445" indent="-228571" algn="l" defTabSz="1219048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indent="0" algn="l" defTabSz="1219048" rtl="0" eaLnBrk="1" latinLnBrk="0" hangingPunct="1">
        <a:spcBef>
          <a:spcPct val="20000"/>
        </a:spcBef>
        <a:buFont typeface="Arial" pitchFamily="34" charset="0"/>
        <a:buNone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1219048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  <p15:guide id="3" orient="horz" pos="73">
          <p15:clr>
            <a:srgbClr val="F26B43"/>
          </p15:clr>
        </p15:guide>
        <p15:guide id="4" orient="horz" pos="300">
          <p15:clr>
            <a:srgbClr val="F26B43"/>
          </p15:clr>
        </p15:guide>
        <p15:guide id="5" orient="horz" pos="48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Layout" Target="../slideLayouts/slideLayout27.xml"/><Relationship Id="rId4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5"/>
          <p:cNvSpPr txBox="1">
            <a:spLocks/>
          </p:cNvSpPr>
          <p:nvPr/>
        </p:nvSpPr>
        <p:spPr>
          <a:xfrm>
            <a:off x="435431" y="4040160"/>
            <a:ext cx="4563520" cy="193104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harte d’usage de la marque d’Etat</a:t>
            </a:r>
          </a:p>
          <a:p>
            <a:pPr algn="ctr"/>
            <a:r>
              <a:rPr lang="fr-F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</a:p>
          <a:p>
            <a:pPr algn="ctr"/>
            <a:r>
              <a:rPr lang="fr-F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xploitant de DAE (propriétaire ou locataire)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1666" y="3647789"/>
            <a:ext cx="4572000" cy="2694806"/>
          </a:xfrm>
          <a:prstGeom prst="rect">
            <a:avLst/>
          </a:prstGeom>
        </p:spPr>
      </p:pic>
      <p:sp>
        <p:nvSpPr>
          <p:cNvPr id="14" name="Titre 5"/>
          <p:cNvSpPr txBox="1">
            <a:spLocks/>
          </p:cNvSpPr>
          <p:nvPr/>
        </p:nvSpPr>
        <p:spPr>
          <a:xfrm>
            <a:off x="5855929" y="2560005"/>
            <a:ext cx="5387787" cy="566256"/>
          </a:xfrm>
          <a:prstGeom prst="rect">
            <a:avLst/>
          </a:prstGeom>
        </p:spPr>
        <p:txBody>
          <a:bodyPr lIns="47989" rIns="47989"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625519"/>
            <a:r>
              <a:rPr lang="fr-FR" sz="3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clarer, Localiser, Sauver</a:t>
            </a:r>
          </a:p>
        </p:txBody>
      </p:sp>
      <p:sp>
        <p:nvSpPr>
          <p:cNvPr id="15" name="Freeform 9"/>
          <p:cNvSpPr>
            <a:spLocks noChangeAspect="1"/>
          </p:cNvSpPr>
          <p:nvPr/>
        </p:nvSpPr>
        <p:spPr bwMode="gray">
          <a:xfrm>
            <a:off x="5941444" y="3044957"/>
            <a:ext cx="5213737" cy="162608"/>
          </a:xfrm>
          <a:custGeom>
            <a:avLst/>
            <a:gdLst>
              <a:gd name="T0" fmla="*/ 20 w 1807"/>
              <a:gd name="T1" fmla="*/ 115 h 116"/>
              <a:gd name="T2" fmla="*/ 20 w 1807"/>
              <a:gd name="T3" fmla="*/ 115 h 116"/>
              <a:gd name="T4" fmla="*/ 1398 w 1807"/>
              <a:gd name="T5" fmla="*/ 50 h 116"/>
              <a:gd name="T6" fmla="*/ 1786 w 1807"/>
              <a:gd name="T7" fmla="*/ 32 h 116"/>
              <a:gd name="T8" fmla="*/ 1786 w 1807"/>
              <a:gd name="T9" fmla="*/ 1 h 116"/>
              <a:gd name="T10" fmla="*/ 409 w 1807"/>
              <a:gd name="T11" fmla="*/ 65 h 116"/>
              <a:gd name="T12" fmla="*/ 21 w 1807"/>
              <a:gd name="T13" fmla="*/ 83 h 116"/>
              <a:gd name="T14" fmla="*/ 20 w 1807"/>
              <a:gd name="T15" fmla="*/ 115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07" h="116">
                <a:moveTo>
                  <a:pt x="20" y="115"/>
                </a:moveTo>
                <a:lnTo>
                  <a:pt x="20" y="115"/>
                </a:lnTo>
                <a:cubicBezTo>
                  <a:pt x="479" y="93"/>
                  <a:pt x="938" y="72"/>
                  <a:pt x="1398" y="50"/>
                </a:cubicBezTo>
                <a:cubicBezTo>
                  <a:pt x="1527" y="44"/>
                  <a:pt x="1656" y="38"/>
                  <a:pt x="1786" y="32"/>
                </a:cubicBezTo>
                <a:cubicBezTo>
                  <a:pt x="1806" y="31"/>
                  <a:pt x="1807" y="0"/>
                  <a:pt x="1786" y="1"/>
                </a:cubicBezTo>
                <a:cubicBezTo>
                  <a:pt x="1327" y="22"/>
                  <a:pt x="868" y="44"/>
                  <a:pt x="409" y="65"/>
                </a:cubicBezTo>
                <a:cubicBezTo>
                  <a:pt x="279" y="71"/>
                  <a:pt x="150" y="77"/>
                  <a:pt x="21" y="83"/>
                </a:cubicBezTo>
                <a:cubicBezTo>
                  <a:pt x="0" y="84"/>
                  <a:pt x="0" y="116"/>
                  <a:pt x="20" y="115"/>
                </a:cubicBezTo>
                <a:close/>
              </a:path>
            </a:pathLst>
          </a:custGeom>
          <a:solidFill>
            <a:srgbClr val="1F497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92" tIns="60945" rIns="121892" bIns="60945" numCol="1" anchor="t" anchorCtr="0" compatLnSpc="1">
            <a:prstTxWarp prst="textNoShape">
              <a:avLst/>
            </a:prstTxWarp>
          </a:bodyPr>
          <a:lstStyle/>
          <a:p>
            <a:pPr defTabSz="1219170"/>
            <a:endParaRPr lang="fr-FR" sz="24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1666" y="753445"/>
            <a:ext cx="3907648" cy="163026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7393" y="458250"/>
            <a:ext cx="4961376" cy="31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23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638271" y="299534"/>
            <a:ext cx="8305800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0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’est-ce qu’un exploitant </a:t>
            </a:r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 Quels sont les objectifs ? </a:t>
            </a:r>
            <a:endParaRPr lang="fr-F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09982"/>
            <a:ext cx="1799766" cy="360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2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1" name="Rechteck 18"/>
          <p:cNvSpPr/>
          <p:nvPr>
            <p:custDataLst>
              <p:tags r:id="rId1"/>
            </p:custDataLst>
          </p:nvPr>
        </p:nvSpPr>
        <p:spPr bwMode="gray">
          <a:xfrm>
            <a:off x="477838" y="1739548"/>
            <a:ext cx="11570634" cy="1548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3" name="Rectangle avec coins arrondis en diagonale 12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104155" y="1276821"/>
            <a:ext cx="5760000" cy="540000"/>
          </a:xfrm>
          <a:prstGeom prst="round2DiagRect">
            <a:avLst/>
          </a:prstGeom>
          <a:solidFill>
            <a:srgbClr val="1F497D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288000">
              <a:tabLst>
                <a:tab pos="177800" algn="l"/>
              </a:tabLst>
            </a:pPr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Définition</a:t>
            </a:r>
            <a:endParaRPr lang="fr-FR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/>
        </p:nvGrpSpPr>
        <p:grpSpPr>
          <a:xfrm>
            <a:off x="315144" y="1073598"/>
            <a:ext cx="972002" cy="972000"/>
            <a:chOff x="492568" y="1073598"/>
            <a:chExt cx="972002" cy="972000"/>
          </a:xfrm>
        </p:grpSpPr>
        <p:grpSp>
          <p:nvGrpSpPr>
            <p:cNvPr id="15" name="Gruppieren 27">
              <a:extLst>
                <a:ext uri="{FF2B5EF4-FFF2-40B4-BE49-F238E27FC236}">
                  <a16:creationId xmlns:a16="http://schemas.microsoft.com/office/drawing/2014/main" id="{A86C02A6-7A47-0643-9605-75F8102EDF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568" y="1073598"/>
              <a:ext cx="972002" cy="972000"/>
              <a:chOff x="7502618" y="1206411"/>
              <a:chExt cx="650014" cy="650013"/>
            </a:xfrm>
            <a:solidFill>
              <a:srgbClr val="E97B7B"/>
            </a:solidFill>
          </p:grpSpPr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3F79BEB0-6F7D-FA4B-80AB-E09E16CD7EF4}"/>
                  </a:ext>
                </a:extLst>
              </p:cNvPr>
              <p:cNvSpPr/>
              <p:nvPr/>
            </p:nvSpPr>
            <p:spPr bwMode="gray">
              <a:xfrm>
                <a:off x="7502618" y="1206412"/>
                <a:ext cx="487510" cy="487510"/>
              </a:xfrm>
              <a:prstGeom prst="ellipse">
                <a:avLst/>
              </a:prstGeom>
              <a:grpFill/>
              <a:ln w="15240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0" name="Ellipse 19">
                <a:extLst>
                  <a:ext uri="{FF2B5EF4-FFF2-40B4-BE49-F238E27FC236}">
                    <a16:creationId xmlns:a16="http://schemas.microsoft.com/office/drawing/2014/main" id="{D910C680-A94C-6A4A-A1C0-68776357678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502619" y="1206411"/>
                <a:ext cx="650013" cy="650013"/>
              </a:xfrm>
              <a:prstGeom prst="ellipse">
                <a:avLst/>
              </a:prstGeom>
              <a:solidFill>
                <a:srgbClr val="1F497D"/>
              </a:solidFill>
              <a:ln w="5715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fr-CA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16" name="Group 6238"/>
            <p:cNvGrpSpPr/>
            <p:nvPr/>
          </p:nvGrpSpPr>
          <p:grpSpPr>
            <a:xfrm>
              <a:off x="634467" y="1264945"/>
              <a:ext cx="678857" cy="678857"/>
              <a:chOff x="8194520" y="-424295"/>
              <a:chExt cx="787401" cy="741363"/>
            </a:xfrm>
            <a:solidFill>
              <a:schemeClr val="bg1"/>
            </a:solidFill>
          </p:grpSpPr>
          <p:sp>
            <p:nvSpPr>
              <p:cNvPr id="17" name="Freeform 10"/>
              <p:cNvSpPr>
                <a:spLocks/>
              </p:cNvSpPr>
              <p:nvPr/>
            </p:nvSpPr>
            <p:spPr bwMode="auto">
              <a:xfrm>
                <a:off x="8194520" y="-424295"/>
                <a:ext cx="777875" cy="741363"/>
              </a:xfrm>
              <a:custGeom>
                <a:avLst/>
                <a:gdLst>
                  <a:gd name="T0" fmla="*/ 183 w 367"/>
                  <a:gd name="T1" fmla="*/ 300 h 350"/>
                  <a:gd name="T2" fmla="*/ 40 w 367"/>
                  <a:gd name="T3" fmla="*/ 120 h 350"/>
                  <a:gd name="T4" fmla="*/ 40 w 367"/>
                  <a:gd name="T5" fmla="*/ 102 h 350"/>
                  <a:gd name="T6" fmla="*/ 87 w 367"/>
                  <a:gd name="T7" fmla="*/ 41 h 350"/>
                  <a:gd name="T8" fmla="*/ 99 w 367"/>
                  <a:gd name="T9" fmla="*/ 40 h 350"/>
                  <a:gd name="T10" fmla="*/ 153 w 367"/>
                  <a:gd name="T11" fmla="*/ 71 h 350"/>
                  <a:gd name="T12" fmla="*/ 183 w 367"/>
                  <a:gd name="T13" fmla="*/ 108 h 350"/>
                  <a:gd name="T14" fmla="*/ 214 w 367"/>
                  <a:gd name="T15" fmla="*/ 71 h 350"/>
                  <a:gd name="T16" fmla="*/ 268 w 367"/>
                  <a:gd name="T17" fmla="*/ 40 h 350"/>
                  <a:gd name="T18" fmla="*/ 280 w 367"/>
                  <a:gd name="T19" fmla="*/ 41 h 350"/>
                  <a:gd name="T20" fmla="*/ 327 w 367"/>
                  <a:gd name="T21" fmla="*/ 102 h 350"/>
                  <a:gd name="T22" fmla="*/ 327 w 367"/>
                  <a:gd name="T23" fmla="*/ 120 h 350"/>
                  <a:gd name="T24" fmla="*/ 327 w 367"/>
                  <a:gd name="T25" fmla="*/ 121 h 350"/>
                  <a:gd name="T26" fmla="*/ 329 w 367"/>
                  <a:gd name="T27" fmla="*/ 162 h 350"/>
                  <a:gd name="T28" fmla="*/ 358 w 367"/>
                  <a:gd name="T29" fmla="*/ 162 h 350"/>
                  <a:gd name="T30" fmla="*/ 367 w 367"/>
                  <a:gd name="T31" fmla="*/ 121 h 350"/>
                  <a:gd name="T32" fmla="*/ 367 w 367"/>
                  <a:gd name="T33" fmla="*/ 100 h 350"/>
                  <a:gd name="T34" fmla="*/ 284 w 367"/>
                  <a:gd name="T35" fmla="*/ 1 h 350"/>
                  <a:gd name="T36" fmla="*/ 268 w 367"/>
                  <a:gd name="T37" fmla="*/ 0 h 350"/>
                  <a:gd name="T38" fmla="*/ 183 w 367"/>
                  <a:gd name="T39" fmla="*/ 45 h 350"/>
                  <a:gd name="T40" fmla="*/ 99 w 367"/>
                  <a:gd name="T41" fmla="*/ 0 h 350"/>
                  <a:gd name="T42" fmla="*/ 83 w 367"/>
                  <a:gd name="T43" fmla="*/ 1 h 350"/>
                  <a:gd name="T44" fmla="*/ 0 w 367"/>
                  <a:gd name="T45" fmla="*/ 100 h 350"/>
                  <a:gd name="T46" fmla="*/ 0 w 367"/>
                  <a:gd name="T47" fmla="*/ 121 h 350"/>
                  <a:gd name="T48" fmla="*/ 183 w 367"/>
                  <a:gd name="T49" fmla="*/ 350 h 350"/>
                  <a:gd name="T50" fmla="*/ 226 w 367"/>
                  <a:gd name="T51" fmla="*/ 318 h 350"/>
                  <a:gd name="T52" fmla="*/ 226 w 367"/>
                  <a:gd name="T53" fmla="*/ 291 h 350"/>
                  <a:gd name="T54" fmla="*/ 195 w 367"/>
                  <a:gd name="T55" fmla="*/ 291 h 350"/>
                  <a:gd name="T56" fmla="*/ 183 w 367"/>
                  <a:gd name="T57" fmla="*/ 30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7" h="350">
                    <a:moveTo>
                      <a:pt x="183" y="300"/>
                    </a:moveTo>
                    <a:cubicBezTo>
                      <a:pt x="93" y="233"/>
                      <a:pt x="45" y="172"/>
                      <a:pt x="40" y="120"/>
                    </a:cubicBezTo>
                    <a:cubicBezTo>
                      <a:pt x="40" y="102"/>
                      <a:pt x="40" y="102"/>
                      <a:pt x="40" y="102"/>
                    </a:cubicBezTo>
                    <a:cubicBezTo>
                      <a:pt x="44" y="60"/>
                      <a:pt x="70" y="43"/>
                      <a:pt x="87" y="41"/>
                    </a:cubicBezTo>
                    <a:cubicBezTo>
                      <a:pt x="91" y="40"/>
                      <a:pt x="95" y="40"/>
                      <a:pt x="99" y="40"/>
                    </a:cubicBezTo>
                    <a:cubicBezTo>
                      <a:pt x="123" y="40"/>
                      <a:pt x="133" y="48"/>
                      <a:pt x="153" y="71"/>
                    </a:cubicBezTo>
                    <a:cubicBezTo>
                      <a:pt x="183" y="108"/>
                      <a:pt x="183" y="108"/>
                      <a:pt x="183" y="108"/>
                    </a:cubicBezTo>
                    <a:cubicBezTo>
                      <a:pt x="214" y="71"/>
                      <a:pt x="214" y="71"/>
                      <a:pt x="214" y="71"/>
                    </a:cubicBezTo>
                    <a:cubicBezTo>
                      <a:pt x="234" y="48"/>
                      <a:pt x="244" y="40"/>
                      <a:pt x="268" y="40"/>
                    </a:cubicBezTo>
                    <a:cubicBezTo>
                      <a:pt x="272" y="40"/>
                      <a:pt x="276" y="40"/>
                      <a:pt x="280" y="41"/>
                    </a:cubicBezTo>
                    <a:cubicBezTo>
                      <a:pt x="297" y="43"/>
                      <a:pt x="323" y="60"/>
                      <a:pt x="327" y="102"/>
                    </a:cubicBezTo>
                    <a:cubicBezTo>
                      <a:pt x="327" y="120"/>
                      <a:pt x="327" y="120"/>
                      <a:pt x="327" y="120"/>
                    </a:cubicBezTo>
                    <a:cubicBezTo>
                      <a:pt x="327" y="121"/>
                      <a:pt x="327" y="121"/>
                      <a:pt x="327" y="121"/>
                    </a:cubicBezTo>
                    <a:cubicBezTo>
                      <a:pt x="329" y="162"/>
                      <a:pt x="329" y="162"/>
                      <a:pt x="329" y="162"/>
                    </a:cubicBezTo>
                    <a:cubicBezTo>
                      <a:pt x="358" y="162"/>
                      <a:pt x="358" y="162"/>
                      <a:pt x="358" y="162"/>
                    </a:cubicBezTo>
                    <a:cubicBezTo>
                      <a:pt x="363" y="148"/>
                      <a:pt x="366" y="134"/>
                      <a:pt x="367" y="121"/>
                    </a:cubicBezTo>
                    <a:cubicBezTo>
                      <a:pt x="367" y="100"/>
                      <a:pt x="367" y="100"/>
                      <a:pt x="367" y="100"/>
                    </a:cubicBezTo>
                    <a:cubicBezTo>
                      <a:pt x="362" y="37"/>
                      <a:pt x="320" y="4"/>
                      <a:pt x="284" y="1"/>
                    </a:cubicBezTo>
                    <a:cubicBezTo>
                      <a:pt x="278" y="0"/>
                      <a:pt x="273" y="0"/>
                      <a:pt x="268" y="0"/>
                    </a:cubicBezTo>
                    <a:cubicBezTo>
                      <a:pt x="226" y="0"/>
                      <a:pt x="206" y="18"/>
                      <a:pt x="183" y="45"/>
                    </a:cubicBezTo>
                    <a:cubicBezTo>
                      <a:pt x="161" y="18"/>
                      <a:pt x="141" y="0"/>
                      <a:pt x="99" y="0"/>
                    </a:cubicBezTo>
                    <a:cubicBezTo>
                      <a:pt x="94" y="0"/>
                      <a:pt x="89" y="0"/>
                      <a:pt x="83" y="1"/>
                    </a:cubicBezTo>
                    <a:cubicBezTo>
                      <a:pt x="47" y="4"/>
                      <a:pt x="5" y="37"/>
                      <a:pt x="0" y="100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5" y="182"/>
                      <a:pt x="50" y="256"/>
                      <a:pt x="183" y="350"/>
                    </a:cubicBezTo>
                    <a:cubicBezTo>
                      <a:pt x="199" y="339"/>
                      <a:pt x="213" y="329"/>
                      <a:pt x="226" y="318"/>
                    </a:cubicBezTo>
                    <a:cubicBezTo>
                      <a:pt x="226" y="291"/>
                      <a:pt x="226" y="291"/>
                      <a:pt x="226" y="291"/>
                    </a:cubicBezTo>
                    <a:cubicBezTo>
                      <a:pt x="195" y="291"/>
                      <a:pt x="195" y="291"/>
                      <a:pt x="195" y="291"/>
                    </a:cubicBezTo>
                    <a:cubicBezTo>
                      <a:pt x="191" y="294"/>
                      <a:pt x="188" y="297"/>
                      <a:pt x="183" y="3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" name="Freeform 11"/>
              <p:cNvSpPr>
                <a:spLocks/>
              </p:cNvSpPr>
              <p:nvPr/>
            </p:nvSpPr>
            <p:spPr bwMode="auto">
              <a:xfrm>
                <a:off x="8596158" y="-113145"/>
                <a:ext cx="385763" cy="385763"/>
              </a:xfrm>
              <a:custGeom>
                <a:avLst/>
                <a:gdLst>
                  <a:gd name="T0" fmla="*/ 158 w 243"/>
                  <a:gd name="T1" fmla="*/ 84 h 243"/>
                  <a:gd name="T2" fmla="*/ 158 w 243"/>
                  <a:gd name="T3" fmla="*/ 0 h 243"/>
                  <a:gd name="T4" fmla="*/ 86 w 243"/>
                  <a:gd name="T5" fmla="*/ 0 h 243"/>
                  <a:gd name="T6" fmla="*/ 86 w 243"/>
                  <a:gd name="T7" fmla="*/ 84 h 243"/>
                  <a:gd name="T8" fmla="*/ 0 w 243"/>
                  <a:gd name="T9" fmla="*/ 84 h 243"/>
                  <a:gd name="T10" fmla="*/ 0 w 243"/>
                  <a:gd name="T11" fmla="*/ 157 h 243"/>
                  <a:gd name="T12" fmla="*/ 86 w 243"/>
                  <a:gd name="T13" fmla="*/ 157 h 243"/>
                  <a:gd name="T14" fmla="*/ 86 w 243"/>
                  <a:gd name="T15" fmla="*/ 243 h 243"/>
                  <a:gd name="T16" fmla="*/ 158 w 243"/>
                  <a:gd name="T17" fmla="*/ 243 h 243"/>
                  <a:gd name="T18" fmla="*/ 158 w 243"/>
                  <a:gd name="T19" fmla="*/ 157 h 243"/>
                  <a:gd name="T20" fmla="*/ 243 w 243"/>
                  <a:gd name="T21" fmla="*/ 157 h 243"/>
                  <a:gd name="T22" fmla="*/ 243 w 243"/>
                  <a:gd name="T23" fmla="*/ 84 h 243"/>
                  <a:gd name="T24" fmla="*/ 158 w 243"/>
                  <a:gd name="T25" fmla="*/ 84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3" h="243">
                    <a:moveTo>
                      <a:pt x="158" y="84"/>
                    </a:moveTo>
                    <a:lnTo>
                      <a:pt x="158" y="0"/>
                    </a:lnTo>
                    <a:lnTo>
                      <a:pt x="86" y="0"/>
                    </a:lnTo>
                    <a:lnTo>
                      <a:pt x="86" y="84"/>
                    </a:lnTo>
                    <a:lnTo>
                      <a:pt x="0" y="84"/>
                    </a:lnTo>
                    <a:lnTo>
                      <a:pt x="0" y="157"/>
                    </a:lnTo>
                    <a:lnTo>
                      <a:pt x="86" y="157"/>
                    </a:lnTo>
                    <a:lnTo>
                      <a:pt x="86" y="243"/>
                    </a:lnTo>
                    <a:lnTo>
                      <a:pt x="158" y="243"/>
                    </a:lnTo>
                    <a:lnTo>
                      <a:pt x="158" y="157"/>
                    </a:lnTo>
                    <a:lnTo>
                      <a:pt x="243" y="157"/>
                    </a:lnTo>
                    <a:lnTo>
                      <a:pt x="243" y="84"/>
                    </a:lnTo>
                    <a:lnTo>
                      <a:pt x="158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22" name="Rechteck 18"/>
          <p:cNvSpPr/>
          <p:nvPr>
            <p:custDataLst>
              <p:tags r:id="rId2"/>
            </p:custDataLst>
          </p:nvPr>
        </p:nvSpPr>
        <p:spPr bwMode="gray">
          <a:xfrm>
            <a:off x="477838" y="4136980"/>
            <a:ext cx="11549875" cy="180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4" name="Rectangle avec coins arrondis en diagonale 23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083396" y="3674255"/>
            <a:ext cx="5760000" cy="540000"/>
          </a:xfrm>
          <a:prstGeom prst="round2DiagRect">
            <a:avLst/>
          </a:prstGeom>
          <a:solidFill>
            <a:srgbClr val="C00000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288000">
              <a:tabLst>
                <a:tab pos="177800" algn="l"/>
              </a:tabLst>
            </a:pPr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Objectifs</a:t>
            </a:r>
            <a:endParaRPr lang="fr-FR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26" name="Gruppieren 27">
            <a:extLst>
              <a:ext uri="{FF2B5EF4-FFF2-40B4-BE49-F238E27FC236}">
                <a16:creationId xmlns:a16="http://schemas.microsoft.com/office/drawing/2014/main" id="{A86C02A6-7A47-0643-9605-75F8102EDFBA}"/>
              </a:ext>
            </a:extLst>
          </p:cNvPr>
          <p:cNvGrpSpPr>
            <a:grpSpLocks noChangeAspect="1"/>
          </p:cNvGrpSpPr>
          <p:nvPr/>
        </p:nvGrpSpPr>
        <p:grpSpPr>
          <a:xfrm>
            <a:off x="294385" y="3416439"/>
            <a:ext cx="972002" cy="972000"/>
            <a:chOff x="7502618" y="1206411"/>
            <a:chExt cx="650014" cy="650013"/>
          </a:xfrm>
          <a:solidFill>
            <a:srgbClr val="C00000"/>
          </a:solidFill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3F79BEB0-6F7D-FA4B-80AB-E09E16CD7EF4}"/>
                </a:ext>
              </a:extLst>
            </p:cNvPr>
            <p:cNvSpPr/>
            <p:nvPr/>
          </p:nvSpPr>
          <p:spPr bwMode="gray">
            <a:xfrm>
              <a:off x="7502618" y="1206412"/>
              <a:ext cx="487510" cy="487510"/>
            </a:xfrm>
            <a:prstGeom prst="ellipse">
              <a:avLst/>
            </a:prstGeom>
            <a:grpFill/>
            <a:ln w="1524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D910C680-A94C-6A4A-A1C0-68776357678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502619" y="1206411"/>
              <a:ext cx="650013" cy="650013"/>
            </a:xfrm>
            <a:prstGeom prst="ellipse">
              <a:avLst/>
            </a:prstGeom>
            <a:grpFill/>
            <a:ln w="571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fr-CA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1" name="Freeform 60">
            <a:extLst>
              <a:ext uri="{FF2B5EF4-FFF2-40B4-BE49-F238E27FC236}">
                <a16:creationId xmlns:a16="http://schemas.microsoft.com/office/drawing/2014/main" id="{9FBAE125-B7F4-3E46-BE5A-44777A3DB369}"/>
              </a:ext>
            </a:extLst>
          </p:cNvPr>
          <p:cNvSpPr>
            <a:spLocks noChangeAspect="1"/>
          </p:cNvSpPr>
          <p:nvPr/>
        </p:nvSpPr>
        <p:spPr>
          <a:xfrm>
            <a:off x="457043" y="3566822"/>
            <a:ext cx="689343" cy="684000"/>
          </a:xfrm>
          <a:custGeom>
            <a:avLst/>
            <a:gdLst>
              <a:gd name="connsiteX0" fmla="*/ 340988 w 345367"/>
              <a:gd name="connsiteY0" fmla="*/ 166981 h 342688"/>
              <a:gd name="connsiteX1" fmla="*/ 312753 w 345367"/>
              <a:gd name="connsiteY1" fmla="*/ 166981 h 342688"/>
              <a:gd name="connsiteX2" fmla="*/ 177103 w 345367"/>
              <a:gd name="connsiteY2" fmla="*/ 32378 h 342688"/>
              <a:gd name="connsiteX3" fmla="*/ 177103 w 345367"/>
              <a:gd name="connsiteY3" fmla="*/ 4362 h 342688"/>
              <a:gd name="connsiteX4" fmla="*/ 172702 w 345367"/>
              <a:gd name="connsiteY4" fmla="*/ 0 h 342688"/>
              <a:gd name="connsiteX5" fmla="*/ 168308 w 345367"/>
              <a:gd name="connsiteY5" fmla="*/ 4362 h 342688"/>
              <a:gd name="connsiteX6" fmla="*/ 168308 w 345367"/>
              <a:gd name="connsiteY6" fmla="*/ 32378 h 342688"/>
              <a:gd name="connsiteX7" fmla="*/ 32651 w 345367"/>
              <a:gd name="connsiteY7" fmla="*/ 166981 h 342688"/>
              <a:gd name="connsiteX8" fmla="*/ 4416 w 345367"/>
              <a:gd name="connsiteY8" fmla="*/ 166981 h 342688"/>
              <a:gd name="connsiteX9" fmla="*/ 0 w 345367"/>
              <a:gd name="connsiteY9" fmla="*/ 171326 h 342688"/>
              <a:gd name="connsiteX10" fmla="*/ 4380 w 345367"/>
              <a:gd name="connsiteY10" fmla="*/ 175707 h 342688"/>
              <a:gd name="connsiteX11" fmla="*/ 4416 w 345367"/>
              <a:gd name="connsiteY11" fmla="*/ 175707 h 342688"/>
              <a:gd name="connsiteX12" fmla="*/ 32651 w 345367"/>
              <a:gd name="connsiteY12" fmla="*/ 175707 h 342688"/>
              <a:gd name="connsiteX13" fmla="*/ 168308 w 345367"/>
              <a:gd name="connsiteY13" fmla="*/ 310307 h 342688"/>
              <a:gd name="connsiteX14" fmla="*/ 168308 w 345367"/>
              <a:gd name="connsiteY14" fmla="*/ 338327 h 342688"/>
              <a:gd name="connsiteX15" fmla="*/ 172702 w 345367"/>
              <a:gd name="connsiteY15" fmla="*/ 342689 h 342688"/>
              <a:gd name="connsiteX16" fmla="*/ 177103 w 345367"/>
              <a:gd name="connsiteY16" fmla="*/ 338327 h 342688"/>
              <a:gd name="connsiteX17" fmla="*/ 177103 w 345367"/>
              <a:gd name="connsiteY17" fmla="*/ 310307 h 342688"/>
              <a:gd name="connsiteX18" fmla="*/ 312753 w 345367"/>
              <a:gd name="connsiteY18" fmla="*/ 175708 h 342688"/>
              <a:gd name="connsiteX19" fmla="*/ 340988 w 345367"/>
              <a:gd name="connsiteY19" fmla="*/ 175708 h 342688"/>
              <a:gd name="connsiteX20" fmla="*/ 345367 w 345367"/>
              <a:gd name="connsiteY20" fmla="*/ 171327 h 342688"/>
              <a:gd name="connsiteX21" fmla="*/ 340988 w 345367"/>
              <a:gd name="connsiteY21" fmla="*/ 166981 h 342688"/>
              <a:gd name="connsiteX22" fmla="*/ 303964 w 345367"/>
              <a:gd name="connsiteY22" fmla="*/ 166981 h 342688"/>
              <a:gd name="connsiteX23" fmla="*/ 257320 w 345367"/>
              <a:gd name="connsiteY23" fmla="*/ 166981 h 342688"/>
              <a:gd name="connsiteX24" fmla="*/ 177103 w 345367"/>
              <a:gd name="connsiteY24" fmla="*/ 87388 h 342688"/>
              <a:gd name="connsiteX25" fmla="*/ 177103 w 345367"/>
              <a:gd name="connsiteY25" fmla="*/ 41104 h 342688"/>
              <a:gd name="connsiteX26" fmla="*/ 303964 w 345367"/>
              <a:gd name="connsiteY26" fmla="*/ 166981 h 342688"/>
              <a:gd name="connsiteX27" fmla="*/ 172702 w 345367"/>
              <a:gd name="connsiteY27" fmla="*/ 193641 h 342688"/>
              <a:gd name="connsiteX28" fmla="*/ 150231 w 345367"/>
              <a:gd name="connsiteY28" fmla="*/ 171344 h 342688"/>
              <a:gd name="connsiteX29" fmla="*/ 172702 w 345367"/>
              <a:gd name="connsiteY29" fmla="*/ 149048 h 342688"/>
              <a:gd name="connsiteX30" fmla="*/ 195172 w 345367"/>
              <a:gd name="connsiteY30" fmla="*/ 171344 h 342688"/>
              <a:gd name="connsiteX31" fmla="*/ 172702 w 345367"/>
              <a:gd name="connsiteY31" fmla="*/ 193641 h 342688"/>
              <a:gd name="connsiteX32" fmla="*/ 168453 w 345367"/>
              <a:gd name="connsiteY32" fmla="*/ 140746 h 342688"/>
              <a:gd name="connsiteX33" fmla="*/ 141864 w 345367"/>
              <a:gd name="connsiteY33" fmla="*/ 167132 h 342688"/>
              <a:gd name="connsiteX34" fmla="*/ 141102 w 345367"/>
              <a:gd name="connsiteY34" fmla="*/ 166981 h 342688"/>
              <a:gd name="connsiteX35" fmla="*/ 96879 w 345367"/>
              <a:gd name="connsiteY35" fmla="*/ 166981 h 342688"/>
              <a:gd name="connsiteX36" fmla="*/ 168308 w 345367"/>
              <a:gd name="connsiteY36" fmla="*/ 96111 h 342688"/>
              <a:gd name="connsiteX37" fmla="*/ 168308 w 345367"/>
              <a:gd name="connsiteY37" fmla="*/ 140012 h 342688"/>
              <a:gd name="connsiteX38" fmla="*/ 168453 w 345367"/>
              <a:gd name="connsiteY38" fmla="*/ 140746 h 342688"/>
              <a:gd name="connsiteX39" fmla="*/ 141102 w 345367"/>
              <a:gd name="connsiteY39" fmla="*/ 175707 h 342688"/>
              <a:gd name="connsiteX40" fmla="*/ 141864 w 345367"/>
              <a:gd name="connsiteY40" fmla="*/ 175552 h 342688"/>
              <a:gd name="connsiteX41" fmla="*/ 168308 w 345367"/>
              <a:gd name="connsiteY41" fmla="*/ 201925 h 342688"/>
              <a:gd name="connsiteX42" fmla="*/ 168308 w 345367"/>
              <a:gd name="connsiteY42" fmla="*/ 246578 h 342688"/>
              <a:gd name="connsiteX43" fmla="*/ 96879 w 345367"/>
              <a:gd name="connsiteY43" fmla="*/ 175708 h 342688"/>
              <a:gd name="connsiteX44" fmla="*/ 177103 w 345367"/>
              <a:gd name="connsiteY44" fmla="*/ 201925 h 342688"/>
              <a:gd name="connsiteX45" fmla="*/ 203525 w 345367"/>
              <a:gd name="connsiteY45" fmla="*/ 175662 h 342688"/>
              <a:gd name="connsiteX46" fmla="*/ 203757 w 345367"/>
              <a:gd name="connsiteY46" fmla="*/ 175707 h 342688"/>
              <a:gd name="connsiteX47" fmla="*/ 248524 w 345367"/>
              <a:gd name="connsiteY47" fmla="*/ 175707 h 342688"/>
              <a:gd name="connsiteX48" fmla="*/ 177103 w 345367"/>
              <a:gd name="connsiteY48" fmla="*/ 246574 h 342688"/>
              <a:gd name="connsiteX49" fmla="*/ 203757 w 345367"/>
              <a:gd name="connsiteY49" fmla="*/ 166981 h 342688"/>
              <a:gd name="connsiteX50" fmla="*/ 203525 w 345367"/>
              <a:gd name="connsiteY50" fmla="*/ 167027 h 342688"/>
              <a:gd name="connsiteX51" fmla="*/ 176951 w 345367"/>
              <a:gd name="connsiteY51" fmla="*/ 140746 h 342688"/>
              <a:gd name="connsiteX52" fmla="*/ 177103 w 345367"/>
              <a:gd name="connsiteY52" fmla="*/ 140013 h 342688"/>
              <a:gd name="connsiteX53" fmla="*/ 177103 w 345367"/>
              <a:gd name="connsiteY53" fmla="*/ 96111 h 342688"/>
              <a:gd name="connsiteX54" fmla="*/ 248524 w 345367"/>
              <a:gd name="connsiteY54" fmla="*/ 166982 h 342688"/>
              <a:gd name="connsiteX55" fmla="*/ 168308 w 345367"/>
              <a:gd name="connsiteY55" fmla="*/ 41104 h 342688"/>
              <a:gd name="connsiteX56" fmla="*/ 168308 w 345367"/>
              <a:gd name="connsiteY56" fmla="*/ 87388 h 342688"/>
              <a:gd name="connsiteX57" fmla="*/ 88091 w 345367"/>
              <a:gd name="connsiteY57" fmla="*/ 166981 h 342688"/>
              <a:gd name="connsiteX58" fmla="*/ 41446 w 345367"/>
              <a:gd name="connsiteY58" fmla="*/ 166981 h 342688"/>
              <a:gd name="connsiteX59" fmla="*/ 168308 w 345367"/>
              <a:gd name="connsiteY59" fmla="*/ 41104 h 342688"/>
              <a:gd name="connsiteX60" fmla="*/ 41446 w 345367"/>
              <a:gd name="connsiteY60" fmla="*/ 175708 h 342688"/>
              <a:gd name="connsiteX61" fmla="*/ 88091 w 345367"/>
              <a:gd name="connsiteY61" fmla="*/ 175708 h 342688"/>
              <a:gd name="connsiteX62" fmla="*/ 168308 w 345367"/>
              <a:gd name="connsiteY62" fmla="*/ 255301 h 342688"/>
              <a:gd name="connsiteX63" fmla="*/ 168308 w 345367"/>
              <a:gd name="connsiteY63" fmla="*/ 301581 h 342688"/>
              <a:gd name="connsiteX64" fmla="*/ 41446 w 345367"/>
              <a:gd name="connsiteY64" fmla="*/ 175708 h 342688"/>
              <a:gd name="connsiteX65" fmla="*/ 177103 w 345367"/>
              <a:gd name="connsiteY65" fmla="*/ 301581 h 342688"/>
              <a:gd name="connsiteX66" fmla="*/ 177103 w 345367"/>
              <a:gd name="connsiteY66" fmla="*/ 255301 h 342688"/>
              <a:gd name="connsiteX67" fmla="*/ 257320 w 345367"/>
              <a:gd name="connsiteY67" fmla="*/ 175708 h 342688"/>
              <a:gd name="connsiteX68" fmla="*/ 303964 w 345367"/>
              <a:gd name="connsiteY68" fmla="*/ 175707 h 342688"/>
              <a:gd name="connsiteX69" fmla="*/ 177103 w 345367"/>
              <a:gd name="connsiteY69" fmla="*/ 301581 h 342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345367" h="342688">
                <a:moveTo>
                  <a:pt x="340988" y="166981"/>
                </a:moveTo>
                <a:lnTo>
                  <a:pt x="312753" y="166981"/>
                </a:lnTo>
                <a:cubicBezTo>
                  <a:pt x="310367" y="93645"/>
                  <a:pt x="251011" y="34745"/>
                  <a:pt x="177103" y="32378"/>
                </a:cubicBezTo>
                <a:lnTo>
                  <a:pt x="177103" y="4362"/>
                </a:lnTo>
                <a:cubicBezTo>
                  <a:pt x="177103" y="1953"/>
                  <a:pt x="175131" y="0"/>
                  <a:pt x="172702" y="0"/>
                </a:cubicBezTo>
                <a:cubicBezTo>
                  <a:pt x="170273" y="0"/>
                  <a:pt x="168308" y="1953"/>
                  <a:pt x="168308" y="4362"/>
                </a:cubicBezTo>
                <a:lnTo>
                  <a:pt x="168308" y="32378"/>
                </a:lnTo>
                <a:cubicBezTo>
                  <a:pt x="94400" y="34744"/>
                  <a:pt x="35037" y="93644"/>
                  <a:pt x="32651" y="166981"/>
                </a:cubicBezTo>
                <a:lnTo>
                  <a:pt x="4416" y="166981"/>
                </a:lnTo>
                <a:cubicBezTo>
                  <a:pt x="1987" y="166971"/>
                  <a:pt x="8" y="168917"/>
                  <a:pt x="0" y="171326"/>
                </a:cubicBezTo>
                <a:cubicBezTo>
                  <a:pt x="-7" y="173736"/>
                  <a:pt x="1951" y="175698"/>
                  <a:pt x="4380" y="175707"/>
                </a:cubicBezTo>
                <a:cubicBezTo>
                  <a:pt x="4394" y="175707"/>
                  <a:pt x="4402" y="175707"/>
                  <a:pt x="4416" y="175707"/>
                </a:cubicBezTo>
                <a:lnTo>
                  <a:pt x="32651" y="175707"/>
                </a:lnTo>
                <a:cubicBezTo>
                  <a:pt x="35037" y="249043"/>
                  <a:pt x="94400" y="307942"/>
                  <a:pt x="168308" y="310307"/>
                </a:cubicBezTo>
                <a:lnTo>
                  <a:pt x="168308" y="338327"/>
                </a:lnTo>
                <a:cubicBezTo>
                  <a:pt x="168308" y="340735"/>
                  <a:pt x="170273" y="342689"/>
                  <a:pt x="172702" y="342689"/>
                </a:cubicBezTo>
                <a:cubicBezTo>
                  <a:pt x="175131" y="342689"/>
                  <a:pt x="177103" y="340735"/>
                  <a:pt x="177103" y="338327"/>
                </a:cubicBezTo>
                <a:lnTo>
                  <a:pt x="177103" y="310307"/>
                </a:lnTo>
                <a:cubicBezTo>
                  <a:pt x="251011" y="307942"/>
                  <a:pt x="310367" y="249043"/>
                  <a:pt x="312753" y="175708"/>
                </a:cubicBezTo>
                <a:lnTo>
                  <a:pt x="340988" y="175708"/>
                </a:lnTo>
                <a:cubicBezTo>
                  <a:pt x="343417" y="175698"/>
                  <a:pt x="345382" y="173736"/>
                  <a:pt x="345367" y="171327"/>
                </a:cubicBezTo>
                <a:cubicBezTo>
                  <a:pt x="345360" y="168930"/>
                  <a:pt x="343402" y="166991"/>
                  <a:pt x="340988" y="166981"/>
                </a:cubicBezTo>
                <a:close/>
                <a:moveTo>
                  <a:pt x="303964" y="166981"/>
                </a:moveTo>
                <a:lnTo>
                  <a:pt x="257320" y="166981"/>
                </a:lnTo>
                <a:cubicBezTo>
                  <a:pt x="255029" y="123998"/>
                  <a:pt x="220420" y="89658"/>
                  <a:pt x="177103" y="87388"/>
                </a:cubicBezTo>
                <a:lnTo>
                  <a:pt x="177103" y="41104"/>
                </a:lnTo>
                <a:cubicBezTo>
                  <a:pt x="246161" y="43459"/>
                  <a:pt x="301586" y="98460"/>
                  <a:pt x="303964" y="166981"/>
                </a:cubicBezTo>
                <a:close/>
                <a:moveTo>
                  <a:pt x="172702" y="193641"/>
                </a:moveTo>
                <a:cubicBezTo>
                  <a:pt x="160288" y="193641"/>
                  <a:pt x="150231" y="183658"/>
                  <a:pt x="150231" y="171344"/>
                </a:cubicBezTo>
                <a:cubicBezTo>
                  <a:pt x="150231" y="159030"/>
                  <a:pt x="160288" y="149048"/>
                  <a:pt x="172702" y="149048"/>
                </a:cubicBezTo>
                <a:cubicBezTo>
                  <a:pt x="185115" y="149048"/>
                  <a:pt x="195172" y="159030"/>
                  <a:pt x="195172" y="171344"/>
                </a:cubicBezTo>
                <a:cubicBezTo>
                  <a:pt x="195158" y="183652"/>
                  <a:pt x="185108" y="193626"/>
                  <a:pt x="172702" y="193641"/>
                </a:cubicBezTo>
                <a:close/>
                <a:moveTo>
                  <a:pt x="168453" y="140746"/>
                </a:moveTo>
                <a:cubicBezTo>
                  <a:pt x="154633" y="142638"/>
                  <a:pt x="143771" y="153420"/>
                  <a:pt x="141864" y="167132"/>
                </a:cubicBezTo>
                <a:cubicBezTo>
                  <a:pt x="141617" y="167058"/>
                  <a:pt x="141363" y="167008"/>
                  <a:pt x="141102" y="166981"/>
                </a:cubicBezTo>
                <a:lnTo>
                  <a:pt x="96879" y="166981"/>
                </a:lnTo>
                <a:cubicBezTo>
                  <a:pt x="99149" y="128809"/>
                  <a:pt x="129834" y="98357"/>
                  <a:pt x="168308" y="96111"/>
                </a:cubicBezTo>
                <a:lnTo>
                  <a:pt x="168308" y="140012"/>
                </a:lnTo>
                <a:cubicBezTo>
                  <a:pt x="168337" y="140261"/>
                  <a:pt x="168380" y="140507"/>
                  <a:pt x="168453" y="140746"/>
                </a:cubicBezTo>
                <a:close/>
                <a:moveTo>
                  <a:pt x="141102" y="175707"/>
                </a:moveTo>
                <a:cubicBezTo>
                  <a:pt x="141363" y="175679"/>
                  <a:pt x="141617" y="175627"/>
                  <a:pt x="141864" y="175552"/>
                </a:cubicBezTo>
                <a:cubicBezTo>
                  <a:pt x="143756" y="189214"/>
                  <a:pt x="154546" y="199976"/>
                  <a:pt x="168308" y="201925"/>
                </a:cubicBezTo>
                <a:lnTo>
                  <a:pt x="168308" y="246578"/>
                </a:lnTo>
                <a:cubicBezTo>
                  <a:pt x="129834" y="244332"/>
                  <a:pt x="99149" y="213879"/>
                  <a:pt x="96879" y="175708"/>
                </a:cubicBezTo>
                <a:close/>
                <a:moveTo>
                  <a:pt x="177103" y="201925"/>
                </a:moveTo>
                <a:cubicBezTo>
                  <a:pt x="190815" y="199980"/>
                  <a:pt x="201589" y="189275"/>
                  <a:pt x="203525" y="175662"/>
                </a:cubicBezTo>
                <a:cubicBezTo>
                  <a:pt x="203605" y="175665"/>
                  <a:pt x="203678" y="175707"/>
                  <a:pt x="203757" y="175707"/>
                </a:cubicBezTo>
                <a:lnTo>
                  <a:pt x="248524" y="175707"/>
                </a:lnTo>
                <a:cubicBezTo>
                  <a:pt x="246255" y="213877"/>
                  <a:pt x="215569" y="244328"/>
                  <a:pt x="177103" y="246574"/>
                </a:cubicBezTo>
                <a:close/>
                <a:moveTo>
                  <a:pt x="203757" y="166981"/>
                </a:moveTo>
                <a:cubicBezTo>
                  <a:pt x="203678" y="166981"/>
                  <a:pt x="203605" y="167023"/>
                  <a:pt x="203525" y="167027"/>
                </a:cubicBezTo>
                <a:cubicBezTo>
                  <a:pt x="201582" y="153359"/>
                  <a:pt x="190727" y="142633"/>
                  <a:pt x="176951" y="140746"/>
                </a:cubicBezTo>
                <a:cubicBezTo>
                  <a:pt x="177023" y="140507"/>
                  <a:pt x="177074" y="140261"/>
                  <a:pt x="177103" y="140013"/>
                </a:cubicBezTo>
                <a:lnTo>
                  <a:pt x="177103" y="96111"/>
                </a:lnTo>
                <a:cubicBezTo>
                  <a:pt x="215569" y="98360"/>
                  <a:pt x="246255" y="128811"/>
                  <a:pt x="248524" y="166982"/>
                </a:cubicBezTo>
                <a:close/>
                <a:moveTo>
                  <a:pt x="168308" y="41104"/>
                </a:moveTo>
                <a:lnTo>
                  <a:pt x="168308" y="87388"/>
                </a:lnTo>
                <a:cubicBezTo>
                  <a:pt x="124984" y="89656"/>
                  <a:pt x="90375" y="123997"/>
                  <a:pt x="88091" y="166981"/>
                </a:cubicBezTo>
                <a:lnTo>
                  <a:pt x="41446" y="166981"/>
                </a:lnTo>
                <a:cubicBezTo>
                  <a:pt x="43817" y="98460"/>
                  <a:pt x="99250" y="43458"/>
                  <a:pt x="168308" y="41104"/>
                </a:cubicBezTo>
                <a:close/>
                <a:moveTo>
                  <a:pt x="41446" y="175708"/>
                </a:moveTo>
                <a:lnTo>
                  <a:pt x="88091" y="175708"/>
                </a:lnTo>
                <a:cubicBezTo>
                  <a:pt x="90375" y="218691"/>
                  <a:pt x="124984" y="253032"/>
                  <a:pt x="168308" y="255301"/>
                </a:cubicBezTo>
                <a:lnTo>
                  <a:pt x="168308" y="301581"/>
                </a:lnTo>
                <a:cubicBezTo>
                  <a:pt x="99250" y="299231"/>
                  <a:pt x="43817" y="244229"/>
                  <a:pt x="41446" y="175708"/>
                </a:cubicBezTo>
                <a:close/>
                <a:moveTo>
                  <a:pt x="177103" y="301581"/>
                </a:moveTo>
                <a:lnTo>
                  <a:pt x="177103" y="255301"/>
                </a:lnTo>
                <a:cubicBezTo>
                  <a:pt x="220420" y="253031"/>
                  <a:pt x="255029" y="218690"/>
                  <a:pt x="257320" y="175708"/>
                </a:cubicBezTo>
                <a:lnTo>
                  <a:pt x="303964" y="175707"/>
                </a:lnTo>
                <a:cubicBezTo>
                  <a:pt x="301586" y="244227"/>
                  <a:pt x="246153" y="299227"/>
                  <a:pt x="177103" y="301581"/>
                </a:cubicBezTo>
                <a:close/>
              </a:path>
            </a:pathLst>
          </a:custGeom>
          <a:solidFill>
            <a:schemeClr val="bg1"/>
          </a:solidFill>
          <a:ln w="72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ZoneTexte 24"/>
          <p:cNvSpPr txBox="1"/>
          <p:nvPr/>
        </p:nvSpPr>
        <p:spPr>
          <a:xfrm>
            <a:off x="874713" y="1916234"/>
            <a:ext cx="10931330" cy="1297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Personne physique ou morale </a:t>
            </a:r>
            <a:r>
              <a:rPr lang="fr-FR" sz="1500" b="1" dirty="0">
                <a:latin typeface="Arial" pitchFamily="34" charset="0"/>
              </a:rPr>
              <a:t>à laquelle pèse</a:t>
            </a:r>
            <a:r>
              <a:rPr lang="fr-FR" sz="1500" dirty="0">
                <a:latin typeface="Arial" pitchFamily="34" charset="0"/>
              </a:rPr>
              <a:t> </a:t>
            </a:r>
            <a:r>
              <a:rPr lang="fr-FR" sz="1500" b="1" dirty="0">
                <a:latin typeface="Arial" pitchFamily="34" charset="0"/>
              </a:rPr>
              <a:t>des obligations réglementaires notamment de déclaration </a:t>
            </a:r>
            <a:r>
              <a:rPr lang="fr-FR" sz="1500" dirty="0">
                <a:latin typeface="Arial" pitchFamily="34" charset="0"/>
              </a:rPr>
              <a:t>des informations relatives à son DAE dans la base de données </a:t>
            </a:r>
            <a:r>
              <a:rPr lang="fr-FR" sz="1500" dirty="0" err="1">
                <a:latin typeface="Arial" pitchFamily="34" charset="0"/>
              </a:rPr>
              <a:t>Géo’DAE</a:t>
            </a:r>
            <a:r>
              <a:rPr lang="fr-FR" sz="1500" dirty="0">
                <a:latin typeface="Arial" pitchFamily="34" charset="0"/>
              </a:rPr>
              <a:t> ;</a:t>
            </a: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Cette personne a </a:t>
            </a:r>
            <a:r>
              <a:rPr lang="fr-FR" sz="1500" b="1" dirty="0">
                <a:latin typeface="Arial" pitchFamily="34" charset="0"/>
              </a:rPr>
              <a:t>la qualité de propriétaire d'un établissement recevant du public </a:t>
            </a:r>
            <a:r>
              <a:rPr lang="fr-FR" sz="1500" dirty="0">
                <a:latin typeface="Arial" pitchFamily="34" charset="0"/>
              </a:rPr>
              <a:t>dont l'activité requiert l'utilisation d'un DAE ou met  ce DAE à disposition des tiers ; </a:t>
            </a:r>
            <a:endParaRPr lang="fr-FR" sz="1500" strike="sngStrike" dirty="0">
              <a:latin typeface="Arial" pitchFamily="34" charset="0"/>
            </a:endParaRP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L’exploitant peut aussi être toute personne décidant librement d’installer un DAE afin de contribuer à sauver des vies.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874713" y="4276189"/>
            <a:ext cx="10931330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b="1" dirty="0">
                <a:latin typeface="Arial" pitchFamily="34" charset="0"/>
              </a:rPr>
              <a:t>Respecter leurs obligations réglementaires </a:t>
            </a:r>
            <a:r>
              <a:rPr lang="fr-FR" sz="1500" dirty="0">
                <a:latin typeface="Arial" pitchFamily="34" charset="0"/>
              </a:rPr>
              <a:t>notamment de déclaration ;</a:t>
            </a:r>
          </a:p>
          <a:p>
            <a:pPr marL="180000" lvl="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Appartenir à un réseau d’exploitants concourant à faciliter l’accès à une information à jour et de qualité relative aux DAE qu’ils possèdent ;</a:t>
            </a:r>
          </a:p>
          <a:p>
            <a:pPr marL="180000" lvl="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b="1" dirty="0">
                <a:latin typeface="Arial" pitchFamily="34" charset="0"/>
              </a:rPr>
              <a:t>Intégrer dans leur démarche de responsabilité sociétale des enjeux de santé publique </a:t>
            </a:r>
            <a:r>
              <a:rPr lang="fr-FR" sz="1500" dirty="0">
                <a:latin typeface="Arial" pitchFamily="34" charset="0"/>
              </a:rPr>
              <a:t>notamment en matière de lutte contre la mort subite ; </a:t>
            </a:r>
          </a:p>
          <a:p>
            <a:pPr marL="180000" lvl="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b="1" dirty="0">
                <a:latin typeface="Arial" pitchFamily="34" charset="0"/>
              </a:rPr>
              <a:t>Participer activement à l’augmentation des chances de survie </a:t>
            </a:r>
            <a:r>
              <a:rPr lang="fr-FR" sz="1500" dirty="0">
                <a:latin typeface="Arial" pitchFamily="34" charset="0"/>
              </a:rPr>
              <a:t>lors d’un arrêt cardiaque.</a:t>
            </a:r>
          </a:p>
        </p:txBody>
      </p:sp>
    </p:spTree>
    <p:extLst>
      <p:ext uri="{BB962C8B-B14F-4D97-AF65-F5344CB8AC3E}">
        <p14:creationId xmlns:p14="http://schemas.microsoft.com/office/powerpoint/2010/main" val="1230434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638269" y="295030"/>
            <a:ext cx="8712000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is exploitant, sous quelles conditions puis-je utiliser la marque ? </a:t>
            </a:r>
            <a:endParaRPr lang="fr-F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hteck 18"/>
          <p:cNvSpPr/>
          <p:nvPr>
            <p:custDataLst>
              <p:tags r:id="rId1"/>
            </p:custDataLst>
          </p:nvPr>
        </p:nvSpPr>
        <p:spPr bwMode="gray">
          <a:xfrm>
            <a:off x="477838" y="1488663"/>
            <a:ext cx="11576277" cy="144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Rechteck 21"/>
          <p:cNvSpPr/>
          <p:nvPr>
            <p:custDataLst>
              <p:tags r:id="rId2"/>
            </p:custDataLst>
          </p:nvPr>
        </p:nvSpPr>
        <p:spPr bwMode="gray">
          <a:xfrm>
            <a:off x="477838" y="3769558"/>
            <a:ext cx="11556218" cy="108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0" name="Rechteck 19"/>
          <p:cNvSpPr/>
          <p:nvPr>
            <p:custDataLst>
              <p:tags r:id="rId3"/>
            </p:custDataLst>
          </p:nvPr>
        </p:nvSpPr>
        <p:spPr bwMode="gray">
          <a:xfrm>
            <a:off x="1058995" y="3355843"/>
            <a:ext cx="8280000" cy="468000"/>
          </a:xfrm>
          <a:prstGeom prst="round2Diag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4656" tIns="0" rIns="86389" bIns="0" rtlCol="0" anchor="ctr"/>
          <a:lstStyle/>
          <a:p>
            <a:pPr marL="288000" defTabSz="1219048">
              <a:spcBef>
                <a:spcPct val="0"/>
              </a:spcBef>
              <a:buSzPct val="90000"/>
            </a:pPr>
            <a:r>
              <a:rPr lang="fr-FR" sz="1800" b="1" kern="0" dirty="0">
                <a:solidFill>
                  <a:srgbClr val="FFFFFF"/>
                </a:solidFill>
                <a:latin typeface="+mj-lt"/>
                <a:cs typeface="Arial" pitchFamily="34" charset="0"/>
              </a:rPr>
              <a:t>Je déclare l’ensemble des données relatives à </a:t>
            </a:r>
            <a:r>
              <a:rPr lang="fr-FR" sz="1800" b="1" kern="0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mon </a:t>
            </a:r>
            <a:r>
              <a:rPr lang="fr-FR" sz="1800" b="1" kern="0" dirty="0">
                <a:solidFill>
                  <a:srgbClr val="FFFFFF"/>
                </a:solidFill>
                <a:latin typeface="+mj-lt"/>
                <a:cs typeface="Arial" pitchFamily="34" charset="0"/>
              </a:rPr>
              <a:t>parc de DAE</a:t>
            </a:r>
          </a:p>
        </p:txBody>
      </p:sp>
      <p:sp>
        <p:nvSpPr>
          <p:cNvPr id="17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09982"/>
            <a:ext cx="1799766" cy="360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3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1" name="Rectangle avec coins arrondis en diagonale 20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102255" y="1053850"/>
            <a:ext cx="8280000" cy="468000"/>
          </a:xfrm>
          <a:prstGeom prst="round2DiagRect">
            <a:avLst/>
          </a:prstGeom>
          <a:solidFill>
            <a:srgbClr val="E97B7B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288000"/>
            <a:r>
              <a:rPr lang="fr-FR" sz="18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Je respecte l’ensemble des obligations réglementaires</a:t>
            </a:r>
          </a:p>
        </p:txBody>
      </p:sp>
      <p:sp>
        <p:nvSpPr>
          <p:cNvPr id="45" name="Rechteck 21"/>
          <p:cNvSpPr/>
          <p:nvPr>
            <p:custDataLst>
              <p:tags r:id="rId4"/>
            </p:custDataLst>
          </p:nvPr>
        </p:nvSpPr>
        <p:spPr bwMode="gray">
          <a:xfrm>
            <a:off x="477838" y="5594255"/>
            <a:ext cx="11562852" cy="792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285750" indent="-28575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299115" y="832798"/>
            <a:ext cx="972002" cy="972000"/>
            <a:chOff x="492563" y="1073598"/>
            <a:chExt cx="972006" cy="972000"/>
          </a:xfrm>
        </p:grpSpPr>
        <p:grpSp>
          <p:nvGrpSpPr>
            <p:cNvPr id="23" name="Gruppieren 27">
              <a:extLst>
                <a:ext uri="{FF2B5EF4-FFF2-40B4-BE49-F238E27FC236}">
                  <a16:creationId xmlns:a16="http://schemas.microsoft.com/office/drawing/2014/main" id="{A86C02A6-7A47-0643-9605-75F8102EDF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563" y="1073598"/>
              <a:ext cx="972006" cy="972000"/>
              <a:chOff x="7502618" y="1206411"/>
              <a:chExt cx="650017" cy="650013"/>
            </a:xfrm>
            <a:solidFill>
              <a:srgbClr val="E97B7B"/>
            </a:solidFill>
          </p:grpSpPr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3F79BEB0-6F7D-FA4B-80AB-E09E16CD7EF4}"/>
                  </a:ext>
                </a:extLst>
              </p:cNvPr>
              <p:cNvSpPr/>
              <p:nvPr/>
            </p:nvSpPr>
            <p:spPr bwMode="gray">
              <a:xfrm>
                <a:off x="7502618" y="1206412"/>
                <a:ext cx="487510" cy="487510"/>
              </a:xfrm>
              <a:prstGeom prst="ellipse">
                <a:avLst/>
              </a:prstGeom>
              <a:grpFill/>
              <a:ln w="15240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D910C680-A94C-6A4A-A1C0-68776357678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502621" y="1206411"/>
                <a:ext cx="650014" cy="650013"/>
              </a:xfrm>
              <a:prstGeom prst="ellipse">
                <a:avLst/>
              </a:prstGeom>
              <a:grpFill/>
              <a:ln w="5715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fr-CA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18" name="Group 6238"/>
            <p:cNvGrpSpPr/>
            <p:nvPr/>
          </p:nvGrpSpPr>
          <p:grpSpPr>
            <a:xfrm>
              <a:off x="634460" y="1264945"/>
              <a:ext cx="678859" cy="678857"/>
              <a:chOff x="8194520" y="-424295"/>
              <a:chExt cx="787404" cy="741363"/>
            </a:xfrm>
            <a:solidFill>
              <a:schemeClr val="bg1"/>
            </a:solidFill>
          </p:grpSpPr>
          <p:sp>
            <p:nvSpPr>
              <p:cNvPr id="19" name="Freeform 10"/>
              <p:cNvSpPr>
                <a:spLocks/>
              </p:cNvSpPr>
              <p:nvPr/>
            </p:nvSpPr>
            <p:spPr bwMode="auto">
              <a:xfrm>
                <a:off x="8194520" y="-424295"/>
                <a:ext cx="777875" cy="741363"/>
              </a:xfrm>
              <a:custGeom>
                <a:avLst/>
                <a:gdLst>
                  <a:gd name="T0" fmla="*/ 183 w 367"/>
                  <a:gd name="T1" fmla="*/ 300 h 350"/>
                  <a:gd name="T2" fmla="*/ 40 w 367"/>
                  <a:gd name="T3" fmla="*/ 120 h 350"/>
                  <a:gd name="T4" fmla="*/ 40 w 367"/>
                  <a:gd name="T5" fmla="*/ 102 h 350"/>
                  <a:gd name="T6" fmla="*/ 87 w 367"/>
                  <a:gd name="T7" fmla="*/ 41 h 350"/>
                  <a:gd name="T8" fmla="*/ 99 w 367"/>
                  <a:gd name="T9" fmla="*/ 40 h 350"/>
                  <a:gd name="T10" fmla="*/ 153 w 367"/>
                  <a:gd name="T11" fmla="*/ 71 h 350"/>
                  <a:gd name="T12" fmla="*/ 183 w 367"/>
                  <a:gd name="T13" fmla="*/ 108 h 350"/>
                  <a:gd name="T14" fmla="*/ 214 w 367"/>
                  <a:gd name="T15" fmla="*/ 71 h 350"/>
                  <a:gd name="T16" fmla="*/ 268 w 367"/>
                  <a:gd name="T17" fmla="*/ 40 h 350"/>
                  <a:gd name="T18" fmla="*/ 280 w 367"/>
                  <a:gd name="T19" fmla="*/ 41 h 350"/>
                  <a:gd name="T20" fmla="*/ 327 w 367"/>
                  <a:gd name="T21" fmla="*/ 102 h 350"/>
                  <a:gd name="T22" fmla="*/ 327 w 367"/>
                  <a:gd name="T23" fmla="*/ 120 h 350"/>
                  <a:gd name="T24" fmla="*/ 327 w 367"/>
                  <a:gd name="T25" fmla="*/ 121 h 350"/>
                  <a:gd name="T26" fmla="*/ 329 w 367"/>
                  <a:gd name="T27" fmla="*/ 162 h 350"/>
                  <a:gd name="T28" fmla="*/ 358 w 367"/>
                  <a:gd name="T29" fmla="*/ 162 h 350"/>
                  <a:gd name="T30" fmla="*/ 367 w 367"/>
                  <a:gd name="T31" fmla="*/ 121 h 350"/>
                  <a:gd name="T32" fmla="*/ 367 w 367"/>
                  <a:gd name="T33" fmla="*/ 100 h 350"/>
                  <a:gd name="T34" fmla="*/ 284 w 367"/>
                  <a:gd name="T35" fmla="*/ 1 h 350"/>
                  <a:gd name="T36" fmla="*/ 268 w 367"/>
                  <a:gd name="T37" fmla="*/ 0 h 350"/>
                  <a:gd name="T38" fmla="*/ 183 w 367"/>
                  <a:gd name="T39" fmla="*/ 45 h 350"/>
                  <a:gd name="T40" fmla="*/ 99 w 367"/>
                  <a:gd name="T41" fmla="*/ 0 h 350"/>
                  <a:gd name="T42" fmla="*/ 83 w 367"/>
                  <a:gd name="T43" fmla="*/ 1 h 350"/>
                  <a:gd name="T44" fmla="*/ 0 w 367"/>
                  <a:gd name="T45" fmla="*/ 100 h 350"/>
                  <a:gd name="T46" fmla="*/ 0 w 367"/>
                  <a:gd name="T47" fmla="*/ 121 h 350"/>
                  <a:gd name="T48" fmla="*/ 183 w 367"/>
                  <a:gd name="T49" fmla="*/ 350 h 350"/>
                  <a:gd name="T50" fmla="*/ 226 w 367"/>
                  <a:gd name="T51" fmla="*/ 318 h 350"/>
                  <a:gd name="T52" fmla="*/ 226 w 367"/>
                  <a:gd name="T53" fmla="*/ 291 h 350"/>
                  <a:gd name="T54" fmla="*/ 195 w 367"/>
                  <a:gd name="T55" fmla="*/ 291 h 350"/>
                  <a:gd name="T56" fmla="*/ 183 w 367"/>
                  <a:gd name="T57" fmla="*/ 30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7" h="350">
                    <a:moveTo>
                      <a:pt x="183" y="300"/>
                    </a:moveTo>
                    <a:cubicBezTo>
                      <a:pt x="93" y="233"/>
                      <a:pt x="45" y="172"/>
                      <a:pt x="40" y="120"/>
                    </a:cubicBezTo>
                    <a:cubicBezTo>
                      <a:pt x="40" y="102"/>
                      <a:pt x="40" y="102"/>
                      <a:pt x="40" y="102"/>
                    </a:cubicBezTo>
                    <a:cubicBezTo>
                      <a:pt x="44" y="60"/>
                      <a:pt x="70" y="43"/>
                      <a:pt x="87" y="41"/>
                    </a:cubicBezTo>
                    <a:cubicBezTo>
                      <a:pt x="91" y="40"/>
                      <a:pt x="95" y="40"/>
                      <a:pt x="99" y="40"/>
                    </a:cubicBezTo>
                    <a:cubicBezTo>
                      <a:pt x="123" y="40"/>
                      <a:pt x="133" y="48"/>
                      <a:pt x="153" y="71"/>
                    </a:cubicBezTo>
                    <a:cubicBezTo>
                      <a:pt x="183" y="108"/>
                      <a:pt x="183" y="108"/>
                      <a:pt x="183" y="108"/>
                    </a:cubicBezTo>
                    <a:cubicBezTo>
                      <a:pt x="214" y="71"/>
                      <a:pt x="214" y="71"/>
                      <a:pt x="214" y="71"/>
                    </a:cubicBezTo>
                    <a:cubicBezTo>
                      <a:pt x="234" y="48"/>
                      <a:pt x="244" y="40"/>
                      <a:pt x="268" y="40"/>
                    </a:cubicBezTo>
                    <a:cubicBezTo>
                      <a:pt x="272" y="40"/>
                      <a:pt x="276" y="40"/>
                      <a:pt x="280" y="41"/>
                    </a:cubicBezTo>
                    <a:cubicBezTo>
                      <a:pt x="297" y="43"/>
                      <a:pt x="323" y="60"/>
                      <a:pt x="327" y="102"/>
                    </a:cubicBezTo>
                    <a:cubicBezTo>
                      <a:pt x="327" y="120"/>
                      <a:pt x="327" y="120"/>
                      <a:pt x="327" y="120"/>
                    </a:cubicBezTo>
                    <a:cubicBezTo>
                      <a:pt x="327" y="121"/>
                      <a:pt x="327" y="121"/>
                      <a:pt x="327" y="121"/>
                    </a:cubicBezTo>
                    <a:cubicBezTo>
                      <a:pt x="329" y="162"/>
                      <a:pt x="329" y="162"/>
                      <a:pt x="329" y="162"/>
                    </a:cubicBezTo>
                    <a:cubicBezTo>
                      <a:pt x="358" y="162"/>
                      <a:pt x="358" y="162"/>
                      <a:pt x="358" y="162"/>
                    </a:cubicBezTo>
                    <a:cubicBezTo>
                      <a:pt x="363" y="148"/>
                      <a:pt x="366" y="134"/>
                      <a:pt x="367" y="121"/>
                    </a:cubicBezTo>
                    <a:cubicBezTo>
                      <a:pt x="367" y="100"/>
                      <a:pt x="367" y="100"/>
                      <a:pt x="367" y="100"/>
                    </a:cubicBezTo>
                    <a:cubicBezTo>
                      <a:pt x="362" y="37"/>
                      <a:pt x="320" y="4"/>
                      <a:pt x="284" y="1"/>
                    </a:cubicBezTo>
                    <a:cubicBezTo>
                      <a:pt x="278" y="0"/>
                      <a:pt x="273" y="0"/>
                      <a:pt x="268" y="0"/>
                    </a:cubicBezTo>
                    <a:cubicBezTo>
                      <a:pt x="226" y="0"/>
                      <a:pt x="206" y="18"/>
                      <a:pt x="183" y="45"/>
                    </a:cubicBezTo>
                    <a:cubicBezTo>
                      <a:pt x="161" y="18"/>
                      <a:pt x="141" y="0"/>
                      <a:pt x="99" y="0"/>
                    </a:cubicBezTo>
                    <a:cubicBezTo>
                      <a:pt x="94" y="0"/>
                      <a:pt x="89" y="0"/>
                      <a:pt x="83" y="1"/>
                    </a:cubicBezTo>
                    <a:cubicBezTo>
                      <a:pt x="47" y="4"/>
                      <a:pt x="5" y="37"/>
                      <a:pt x="0" y="100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5" y="182"/>
                      <a:pt x="50" y="256"/>
                      <a:pt x="183" y="350"/>
                    </a:cubicBezTo>
                    <a:cubicBezTo>
                      <a:pt x="199" y="339"/>
                      <a:pt x="213" y="329"/>
                      <a:pt x="226" y="318"/>
                    </a:cubicBezTo>
                    <a:cubicBezTo>
                      <a:pt x="226" y="291"/>
                      <a:pt x="226" y="291"/>
                      <a:pt x="226" y="291"/>
                    </a:cubicBezTo>
                    <a:cubicBezTo>
                      <a:pt x="195" y="291"/>
                      <a:pt x="195" y="291"/>
                      <a:pt x="195" y="291"/>
                    </a:cubicBezTo>
                    <a:cubicBezTo>
                      <a:pt x="191" y="294"/>
                      <a:pt x="188" y="297"/>
                      <a:pt x="183" y="3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Freeform 11"/>
              <p:cNvSpPr>
                <a:spLocks/>
              </p:cNvSpPr>
              <p:nvPr/>
            </p:nvSpPr>
            <p:spPr bwMode="auto">
              <a:xfrm>
                <a:off x="8596161" y="-113145"/>
                <a:ext cx="385763" cy="385763"/>
              </a:xfrm>
              <a:custGeom>
                <a:avLst/>
                <a:gdLst>
                  <a:gd name="T0" fmla="*/ 158 w 243"/>
                  <a:gd name="T1" fmla="*/ 84 h 243"/>
                  <a:gd name="T2" fmla="*/ 158 w 243"/>
                  <a:gd name="T3" fmla="*/ 0 h 243"/>
                  <a:gd name="T4" fmla="*/ 86 w 243"/>
                  <a:gd name="T5" fmla="*/ 0 h 243"/>
                  <a:gd name="T6" fmla="*/ 86 w 243"/>
                  <a:gd name="T7" fmla="*/ 84 h 243"/>
                  <a:gd name="T8" fmla="*/ 0 w 243"/>
                  <a:gd name="T9" fmla="*/ 84 h 243"/>
                  <a:gd name="T10" fmla="*/ 0 w 243"/>
                  <a:gd name="T11" fmla="*/ 157 h 243"/>
                  <a:gd name="T12" fmla="*/ 86 w 243"/>
                  <a:gd name="T13" fmla="*/ 157 h 243"/>
                  <a:gd name="T14" fmla="*/ 86 w 243"/>
                  <a:gd name="T15" fmla="*/ 243 h 243"/>
                  <a:gd name="T16" fmla="*/ 158 w 243"/>
                  <a:gd name="T17" fmla="*/ 243 h 243"/>
                  <a:gd name="T18" fmla="*/ 158 w 243"/>
                  <a:gd name="T19" fmla="*/ 157 h 243"/>
                  <a:gd name="T20" fmla="*/ 243 w 243"/>
                  <a:gd name="T21" fmla="*/ 157 h 243"/>
                  <a:gd name="T22" fmla="*/ 243 w 243"/>
                  <a:gd name="T23" fmla="*/ 84 h 243"/>
                  <a:gd name="T24" fmla="*/ 158 w 243"/>
                  <a:gd name="T25" fmla="*/ 84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3" h="243">
                    <a:moveTo>
                      <a:pt x="158" y="84"/>
                    </a:moveTo>
                    <a:lnTo>
                      <a:pt x="158" y="0"/>
                    </a:lnTo>
                    <a:lnTo>
                      <a:pt x="86" y="0"/>
                    </a:lnTo>
                    <a:lnTo>
                      <a:pt x="86" y="84"/>
                    </a:lnTo>
                    <a:lnTo>
                      <a:pt x="0" y="84"/>
                    </a:lnTo>
                    <a:lnTo>
                      <a:pt x="0" y="157"/>
                    </a:lnTo>
                    <a:lnTo>
                      <a:pt x="86" y="157"/>
                    </a:lnTo>
                    <a:lnTo>
                      <a:pt x="86" y="243"/>
                    </a:lnTo>
                    <a:lnTo>
                      <a:pt x="158" y="243"/>
                    </a:lnTo>
                    <a:lnTo>
                      <a:pt x="158" y="157"/>
                    </a:lnTo>
                    <a:lnTo>
                      <a:pt x="243" y="157"/>
                    </a:lnTo>
                    <a:lnTo>
                      <a:pt x="243" y="84"/>
                    </a:lnTo>
                    <a:lnTo>
                      <a:pt x="158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36" name="Groupe 35"/>
          <p:cNvGrpSpPr/>
          <p:nvPr/>
        </p:nvGrpSpPr>
        <p:grpSpPr>
          <a:xfrm>
            <a:off x="314692" y="3122593"/>
            <a:ext cx="972002" cy="972000"/>
            <a:chOff x="492568" y="1073598"/>
            <a:chExt cx="972002" cy="972000"/>
          </a:xfrm>
        </p:grpSpPr>
        <p:grpSp>
          <p:nvGrpSpPr>
            <p:cNvPr id="37" name="Gruppieren 27">
              <a:extLst>
                <a:ext uri="{FF2B5EF4-FFF2-40B4-BE49-F238E27FC236}">
                  <a16:creationId xmlns:a16="http://schemas.microsoft.com/office/drawing/2014/main" id="{A86C02A6-7A47-0643-9605-75F8102EDF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568" y="1073598"/>
              <a:ext cx="972002" cy="972000"/>
              <a:chOff x="7502618" y="1206411"/>
              <a:chExt cx="650014" cy="650013"/>
            </a:xfrm>
            <a:solidFill>
              <a:srgbClr val="E97B7B"/>
            </a:solidFill>
          </p:grpSpPr>
          <p:sp>
            <p:nvSpPr>
              <p:cNvPr id="41" name="Ellipse 40">
                <a:extLst>
                  <a:ext uri="{FF2B5EF4-FFF2-40B4-BE49-F238E27FC236}">
                    <a16:creationId xmlns:a16="http://schemas.microsoft.com/office/drawing/2014/main" id="{3F79BEB0-6F7D-FA4B-80AB-E09E16CD7EF4}"/>
                  </a:ext>
                </a:extLst>
              </p:cNvPr>
              <p:cNvSpPr/>
              <p:nvPr/>
            </p:nvSpPr>
            <p:spPr bwMode="gray">
              <a:xfrm>
                <a:off x="7502618" y="1206412"/>
                <a:ext cx="487510" cy="487510"/>
              </a:xfrm>
              <a:prstGeom prst="ellipse">
                <a:avLst/>
              </a:prstGeom>
              <a:grpFill/>
              <a:ln w="15240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42" name="Ellipse 41">
                <a:extLst>
                  <a:ext uri="{FF2B5EF4-FFF2-40B4-BE49-F238E27FC236}">
                    <a16:creationId xmlns:a16="http://schemas.microsoft.com/office/drawing/2014/main" id="{D910C680-A94C-6A4A-A1C0-68776357678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502619" y="1206411"/>
                <a:ext cx="650013" cy="650013"/>
              </a:xfrm>
              <a:prstGeom prst="ellipse">
                <a:avLst/>
              </a:prstGeom>
              <a:solidFill>
                <a:srgbClr val="C00000"/>
              </a:solidFill>
              <a:ln w="5715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fr-CA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38" name="Group 6238"/>
            <p:cNvGrpSpPr/>
            <p:nvPr/>
          </p:nvGrpSpPr>
          <p:grpSpPr>
            <a:xfrm>
              <a:off x="634467" y="1264945"/>
              <a:ext cx="678857" cy="678857"/>
              <a:chOff x="8194520" y="-424295"/>
              <a:chExt cx="787401" cy="741363"/>
            </a:xfrm>
            <a:solidFill>
              <a:schemeClr val="bg1"/>
            </a:solidFill>
          </p:grpSpPr>
          <p:sp>
            <p:nvSpPr>
              <p:cNvPr id="39" name="Freeform 10"/>
              <p:cNvSpPr>
                <a:spLocks/>
              </p:cNvSpPr>
              <p:nvPr/>
            </p:nvSpPr>
            <p:spPr bwMode="auto">
              <a:xfrm>
                <a:off x="8194520" y="-424295"/>
                <a:ext cx="777875" cy="741363"/>
              </a:xfrm>
              <a:custGeom>
                <a:avLst/>
                <a:gdLst>
                  <a:gd name="T0" fmla="*/ 183 w 367"/>
                  <a:gd name="T1" fmla="*/ 300 h 350"/>
                  <a:gd name="T2" fmla="*/ 40 w 367"/>
                  <a:gd name="T3" fmla="*/ 120 h 350"/>
                  <a:gd name="T4" fmla="*/ 40 w 367"/>
                  <a:gd name="T5" fmla="*/ 102 h 350"/>
                  <a:gd name="T6" fmla="*/ 87 w 367"/>
                  <a:gd name="T7" fmla="*/ 41 h 350"/>
                  <a:gd name="T8" fmla="*/ 99 w 367"/>
                  <a:gd name="T9" fmla="*/ 40 h 350"/>
                  <a:gd name="T10" fmla="*/ 153 w 367"/>
                  <a:gd name="T11" fmla="*/ 71 h 350"/>
                  <a:gd name="T12" fmla="*/ 183 w 367"/>
                  <a:gd name="T13" fmla="*/ 108 h 350"/>
                  <a:gd name="T14" fmla="*/ 214 w 367"/>
                  <a:gd name="T15" fmla="*/ 71 h 350"/>
                  <a:gd name="T16" fmla="*/ 268 w 367"/>
                  <a:gd name="T17" fmla="*/ 40 h 350"/>
                  <a:gd name="T18" fmla="*/ 280 w 367"/>
                  <a:gd name="T19" fmla="*/ 41 h 350"/>
                  <a:gd name="T20" fmla="*/ 327 w 367"/>
                  <a:gd name="T21" fmla="*/ 102 h 350"/>
                  <a:gd name="T22" fmla="*/ 327 w 367"/>
                  <a:gd name="T23" fmla="*/ 120 h 350"/>
                  <a:gd name="T24" fmla="*/ 327 w 367"/>
                  <a:gd name="T25" fmla="*/ 121 h 350"/>
                  <a:gd name="T26" fmla="*/ 329 w 367"/>
                  <a:gd name="T27" fmla="*/ 162 h 350"/>
                  <a:gd name="T28" fmla="*/ 358 w 367"/>
                  <a:gd name="T29" fmla="*/ 162 h 350"/>
                  <a:gd name="T30" fmla="*/ 367 w 367"/>
                  <a:gd name="T31" fmla="*/ 121 h 350"/>
                  <a:gd name="T32" fmla="*/ 367 w 367"/>
                  <a:gd name="T33" fmla="*/ 100 h 350"/>
                  <a:gd name="T34" fmla="*/ 284 w 367"/>
                  <a:gd name="T35" fmla="*/ 1 h 350"/>
                  <a:gd name="T36" fmla="*/ 268 w 367"/>
                  <a:gd name="T37" fmla="*/ 0 h 350"/>
                  <a:gd name="T38" fmla="*/ 183 w 367"/>
                  <a:gd name="T39" fmla="*/ 45 h 350"/>
                  <a:gd name="T40" fmla="*/ 99 w 367"/>
                  <a:gd name="T41" fmla="*/ 0 h 350"/>
                  <a:gd name="T42" fmla="*/ 83 w 367"/>
                  <a:gd name="T43" fmla="*/ 1 h 350"/>
                  <a:gd name="T44" fmla="*/ 0 w 367"/>
                  <a:gd name="T45" fmla="*/ 100 h 350"/>
                  <a:gd name="T46" fmla="*/ 0 w 367"/>
                  <a:gd name="T47" fmla="*/ 121 h 350"/>
                  <a:gd name="T48" fmla="*/ 183 w 367"/>
                  <a:gd name="T49" fmla="*/ 350 h 350"/>
                  <a:gd name="T50" fmla="*/ 226 w 367"/>
                  <a:gd name="T51" fmla="*/ 318 h 350"/>
                  <a:gd name="T52" fmla="*/ 226 w 367"/>
                  <a:gd name="T53" fmla="*/ 291 h 350"/>
                  <a:gd name="T54" fmla="*/ 195 w 367"/>
                  <a:gd name="T55" fmla="*/ 291 h 350"/>
                  <a:gd name="T56" fmla="*/ 183 w 367"/>
                  <a:gd name="T57" fmla="*/ 30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7" h="350">
                    <a:moveTo>
                      <a:pt x="183" y="300"/>
                    </a:moveTo>
                    <a:cubicBezTo>
                      <a:pt x="93" y="233"/>
                      <a:pt x="45" y="172"/>
                      <a:pt x="40" y="120"/>
                    </a:cubicBezTo>
                    <a:cubicBezTo>
                      <a:pt x="40" y="102"/>
                      <a:pt x="40" y="102"/>
                      <a:pt x="40" y="102"/>
                    </a:cubicBezTo>
                    <a:cubicBezTo>
                      <a:pt x="44" y="60"/>
                      <a:pt x="70" y="43"/>
                      <a:pt x="87" y="41"/>
                    </a:cubicBezTo>
                    <a:cubicBezTo>
                      <a:pt x="91" y="40"/>
                      <a:pt x="95" y="40"/>
                      <a:pt x="99" y="40"/>
                    </a:cubicBezTo>
                    <a:cubicBezTo>
                      <a:pt x="123" y="40"/>
                      <a:pt x="133" y="48"/>
                      <a:pt x="153" y="71"/>
                    </a:cubicBezTo>
                    <a:cubicBezTo>
                      <a:pt x="183" y="108"/>
                      <a:pt x="183" y="108"/>
                      <a:pt x="183" y="108"/>
                    </a:cubicBezTo>
                    <a:cubicBezTo>
                      <a:pt x="214" y="71"/>
                      <a:pt x="214" y="71"/>
                      <a:pt x="214" y="71"/>
                    </a:cubicBezTo>
                    <a:cubicBezTo>
                      <a:pt x="234" y="48"/>
                      <a:pt x="244" y="40"/>
                      <a:pt x="268" y="40"/>
                    </a:cubicBezTo>
                    <a:cubicBezTo>
                      <a:pt x="272" y="40"/>
                      <a:pt x="276" y="40"/>
                      <a:pt x="280" y="41"/>
                    </a:cubicBezTo>
                    <a:cubicBezTo>
                      <a:pt x="297" y="43"/>
                      <a:pt x="323" y="60"/>
                      <a:pt x="327" y="102"/>
                    </a:cubicBezTo>
                    <a:cubicBezTo>
                      <a:pt x="327" y="120"/>
                      <a:pt x="327" y="120"/>
                      <a:pt x="327" y="120"/>
                    </a:cubicBezTo>
                    <a:cubicBezTo>
                      <a:pt x="327" y="121"/>
                      <a:pt x="327" y="121"/>
                      <a:pt x="327" y="121"/>
                    </a:cubicBezTo>
                    <a:cubicBezTo>
                      <a:pt x="329" y="162"/>
                      <a:pt x="329" y="162"/>
                      <a:pt x="329" y="162"/>
                    </a:cubicBezTo>
                    <a:cubicBezTo>
                      <a:pt x="358" y="162"/>
                      <a:pt x="358" y="162"/>
                      <a:pt x="358" y="162"/>
                    </a:cubicBezTo>
                    <a:cubicBezTo>
                      <a:pt x="363" y="148"/>
                      <a:pt x="366" y="134"/>
                      <a:pt x="367" y="121"/>
                    </a:cubicBezTo>
                    <a:cubicBezTo>
                      <a:pt x="367" y="100"/>
                      <a:pt x="367" y="100"/>
                      <a:pt x="367" y="100"/>
                    </a:cubicBezTo>
                    <a:cubicBezTo>
                      <a:pt x="362" y="37"/>
                      <a:pt x="320" y="4"/>
                      <a:pt x="284" y="1"/>
                    </a:cubicBezTo>
                    <a:cubicBezTo>
                      <a:pt x="278" y="0"/>
                      <a:pt x="273" y="0"/>
                      <a:pt x="268" y="0"/>
                    </a:cubicBezTo>
                    <a:cubicBezTo>
                      <a:pt x="226" y="0"/>
                      <a:pt x="206" y="18"/>
                      <a:pt x="183" y="45"/>
                    </a:cubicBezTo>
                    <a:cubicBezTo>
                      <a:pt x="161" y="18"/>
                      <a:pt x="141" y="0"/>
                      <a:pt x="99" y="0"/>
                    </a:cubicBezTo>
                    <a:cubicBezTo>
                      <a:pt x="94" y="0"/>
                      <a:pt x="89" y="0"/>
                      <a:pt x="83" y="1"/>
                    </a:cubicBezTo>
                    <a:cubicBezTo>
                      <a:pt x="47" y="4"/>
                      <a:pt x="5" y="37"/>
                      <a:pt x="0" y="100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5" y="182"/>
                      <a:pt x="50" y="256"/>
                      <a:pt x="183" y="350"/>
                    </a:cubicBezTo>
                    <a:cubicBezTo>
                      <a:pt x="199" y="339"/>
                      <a:pt x="213" y="329"/>
                      <a:pt x="226" y="318"/>
                    </a:cubicBezTo>
                    <a:cubicBezTo>
                      <a:pt x="226" y="291"/>
                      <a:pt x="226" y="291"/>
                      <a:pt x="226" y="291"/>
                    </a:cubicBezTo>
                    <a:cubicBezTo>
                      <a:pt x="195" y="291"/>
                      <a:pt x="195" y="291"/>
                      <a:pt x="195" y="291"/>
                    </a:cubicBezTo>
                    <a:cubicBezTo>
                      <a:pt x="191" y="294"/>
                      <a:pt x="188" y="297"/>
                      <a:pt x="183" y="3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0" name="Freeform 11"/>
              <p:cNvSpPr>
                <a:spLocks/>
              </p:cNvSpPr>
              <p:nvPr/>
            </p:nvSpPr>
            <p:spPr bwMode="auto">
              <a:xfrm>
                <a:off x="8596158" y="-113145"/>
                <a:ext cx="385763" cy="385763"/>
              </a:xfrm>
              <a:custGeom>
                <a:avLst/>
                <a:gdLst>
                  <a:gd name="T0" fmla="*/ 158 w 243"/>
                  <a:gd name="T1" fmla="*/ 84 h 243"/>
                  <a:gd name="T2" fmla="*/ 158 w 243"/>
                  <a:gd name="T3" fmla="*/ 0 h 243"/>
                  <a:gd name="T4" fmla="*/ 86 w 243"/>
                  <a:gd name="T5" fmla="*/ 0 h 243"/>
                  <a:gd name="T6" fmla="*/ 86 w 243"/>
                  <a:gd name="T7" fmla="*/ 84 h 243"/>
                  <a:gd name="T8" fmla="*/ 0 w 243"/>
                  <a:gd name="T9" fmla="*/ 84 h 243"/>
                  <a:gd name="T10" fmla="*/ 0 w 243"/>
                  <a:gd name="T11" fmla="*/ 157 h 243"/>
                  <a:gd name="T12" fmla="*/ 86 w 243"/>
                  <a:gd name="T13" fmla="*/ 157 h 243"/>
                  <a:gd name="T14" fmla="*/ 86 w 243"/>
                  <a:gd name="T15" fmla="*/ 243 h 243"/>
                  <a:gd name="T16" fmla="*/ 158 w 243"/>
                  <a:gd name="T17" fmla="*/ 243 h 243"/>
                  <a:gd name="T18" fmla="*/ 158 w 243"/>
                  <a:gd name="T19" fmla="*/ 157 h 243"/>
                  <a:gd name="T20" fmla="*/ 243 w 243"/>
                  <a:gd name="T21" fmla="*/ 157 h 243"/>
                  <a:gd name="T22" fmla="*/ 243 w 243"/>
                  <a:gd name="T23" fmla="*/ 84 h 243"/>
                  <a:gd name="T24" fmla="*/ 158 w 243"/>
                  <a:gd name="T25" fmla="*/ 84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3" h="243">
                    <a:moveTo>
                      <a:pt x="158" y="84"/>
                    </a:moveTo>
                    <a:lnTo>
                      <a:pt x="158" y="0"/>
                    </a:lnTo>
                    <a:lnTo>
                      <a:pt x="86" y="0"/>
                    </a:lnTo>
                    <a:lnTo>
                      <a:pt x="86" y="84"/>
                    </a:lnTo>
                    <a:lnTo>
                      <a:pt x="0" y="84"/>
                    </a:lnTo>
                    <a:lnTo>
                      <a:pt x="0" y="157"/>
                    </a:lnTo>
                    <a:lnTo>
                      <a:pt x="86" y="157"/>
                    </a:lnTo>
                    <a:lnTo>
                      <a:pt x="86" y="243"/>
                    </a:lnTo>
                    <a:lnTo>
                      <a:pt x="158" y="243"/>
                    </a:lnTo>
                    <a:lnTo>
                      <a:pt x="158" y="157"/>
                    </a:lnTo>
                    <a:lnTo>
                      <a:pt x="243" y="157"/>
                    </a:lnTo>
                    <a:lnTo>
                      <a:pt x="243" y="84"/>
                    </a:lnTo>
                    <a:lnTo>
                      <a:pt x="158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47" name="ZoneTexte 46"/>
          <p:cNvSpPr txBox="1"/>
          <p:nvPr/>
        </p:nvSpPr>
        <p:spPr>
          <a:xfrm>
            <a:off x="874713" y="5736358"/>
            <a:ext cx="10890140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Je m’engage à </a:t>
            </a:r>
            <a:r>
              <a:rPr lang="fr-FR" sz="1500" b="1" dirty="0">
                <a:latin typeface="Arial" pitchFamily="34" charset="0"/>
              </a:rPr>
              <a:t>apposer le logo de la marque sur le boitier protégeant mon DAE </a:t>
            </a:r>
            <a:r>
              <a:rPr lang="fr-FR" sz="1500" dirty="0">
                <a:latin typeface="Arial" pitchFamily="34" charset="0"/>
              </a:rPr>
              <a:t>;</a:t>
            </a:r>
          </a:p>
          <a:p>
            <a:pPr marL="285750" indent="-28575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je m’engage à utiliser la marque </a:t>
            </a:r>
            <a:r>
              <a:rPr lang="fr-FR" sz="1500" dirty="0" err="1">
                <a:latin typeface="Arial" pitchFamily="34" charset="0"/>
              </a:rPr>
              <a:t>Géo’DAE</a:t>
            </a:r>
            <a:r>
              <a:rPr lang="fr-FR" sz="1500" dirty="0">
                <a:latin typeface="Arial" pitchFamily="34" charset="0"/>
              </a:rPr>
              <a:t> conformément à sa finalité. </a:t>
            </a:r>
          </a:p>
        </p:txBody>
      </p:sp>
      <p:sp>
        <p:nvSpPr>
          <p:cNvPr id="24" name="Rectangle avec coins arrondis en diagonale 23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052112" y="5187051"/>
            <a:ext cx="8280000" cy="468000"/>
          </a:xfrm>
          <a:prstGeom prst="round2DiagRect">
            <a:avLst/>
          </a:prstGeom>
          <a:solidFill>
            <a:srgbClr val="002060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288000"/>
            <a:r>
              <a:rPr lang="fr-FR" sz="18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J’utilise le label </a:t>
            </a:r>
            <a:r>
              <a:rPr lang="fr-FR" sz="1800" b="1" dirty="0" err="1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éo’DAE</a:t>
            </a:r>
            <a:endParaRPr lang="fr-FR" sz="18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25" name="Groupe 24"/>
          <p:cNvGrpSpPr/>
          <p:nvPr/>
        </p:nvGrpSpPr>
        <p:grpSpPr>
          <a:xfrm>
            <a:off x="326892" y="4925354"/>
            <a:ext cx="972002" cy="972000"/>
            <a:chOff x="492568" y="1073598"/>
            <a:chExt cx="972002" cy="972000"/>
          </a:xfrm>
        </p:grpSpPr>
        <p:grpSp>
          <p:nvGrpSpPr>
            <p:cNvPr id="26" name="Gruppieren 27">
              <a:extLst>
                <a:ext uri="{FF2B5EF4-FFF2-40B4-BE49-F238E27FC236}">
                  <a16:creationId xmlns:a16="http://schemas.microsoft.com/office/drawing/2014/main" id="{A86C02A6-7A47-0643-9605-75F8102EDF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568" y="1073598"/>
              <a:ext cx="972002" cy="972000"/>
              <a:chOff x="7502618" y="1206411"/>
              <a:chExt cx="650014" cy="650013"/>
            </a:xfrm>
            <a:solidFill>
              <a:srgbClr val="E97B7B"/>
            </a:solidFill>
          </p:grpSpPr>
          <p:sp>
            <p:nvSpPr>
              <p:cNvPr id="35" name="Ellipse 34">
                <a:extLst>
                  <a:ext uri="{FF2B5EF4-FFF2-40B4-BE49-F238E27FC236}">
                    <a16:creationId xmlns:a16="http://schemas.microsoft.com/office/drawing/2014/main" id="{3F79BEB0-6F7D-FA4B-80AB-E09E16CD7EF4}"/>
                  </a:ext>
                </a:extLst>
              </p:cNvPr>
              <p:cNvSpPr/>
              <p:nvPr/>
            </p:nvSpPr>
            <p:spPr bwMode="gray">
              <a:xfrm>
                <a:off x="7502618" y="1206412"/>
                <a:ext cx="487510" cy="487510"/>
              </a:xfrm>
              <a:prstGeom prst="ellipse">
                <a:avLst/>
              </a:prstGeom>
              <a:grpFill/>
              <a:ln w="15240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43" name="Ellipse 42">
                <a:extLst>
                  <a:ext uri="{FF2B5EF4-FFF2-40B4-BE49-F238E27FC236}">
                    <a16:creationId xmlns:a16="http://schemas.microsoft.com/office/drawing/2014/main" id="{D910C680-A94C-6A4A-A1C0-68776357678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502619" y="1206411"/>
                <a:ext cx="650013" cy="650013"/>
              </a:xfrm>
              <a:prstGeom prst="ellipse">
                <a:avLst/>
              </a:prstGeom>
              <a:solidFill>
                <a:srgbClr val="002060"/>
              </a:solidFill>
              <a:ln w="5715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fr-CA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27" name="Group 6238"/>
            <p:cNvGrpSpPr/>
            <p:nvPr/>
          </p:nvGrpSpPr>
          <p:grpSpPr>
            <a:xfrm>
              <a:off x="634467" y="1264945"/>
              <a:ext cx="678857" cy="678857"/>
              <a:chOff x="8194520" y="-424295"/>
              <a:chExt cx="787401" cy="741363"/>
            </a:xfrm>
            <a:solidFill>
              <a:schemeClr val="bg1"/>
            </a:solidFill>
          </p:grpSpPr>
          <p:sp>
            <p:nvSpPr>
              <p:cNvPr id="33" name="Freeform 10"/>
              <p:cNvSpPr>
                <a:spLocks/>
              </p:cNvSpPr>
              <p:nvPr/>
            </p:nvSpPr>
            <p:spPr bwMode="auto">
              <a:xfrm>
                <a:off x="8194520" y="-424295"/>
                <a:ext cx="777875" cy="741363"/>
              </a:xfrm>
              <a:custGeom>
                <a:avLst/>
                <a:gdLst>
                  <a:gd name="T0" fmla="*/ 183 w 367"/>
                  <a:gd name="T1" fmla="*/ 300 h 350"/>
                  <a:gd name="T2" fmla="*/ 40 w 367"/>
                  <a:gd name="T3" fmla="*/ 120 h 350"/>
                  <a:gd name="T4" fmla="*/ 40 w 367"/>
                  <a:gd name="T5" fmla="*/ 102 h 350"/>
                  <a:gd name="T6" fmla="*/ 87 w 367"/>
                  <a:gd name="T7" fmla="*/ 41 h 350"/>
                  <a:gd name="T8" fmla="*/ 99 w 367"/>
                  <a:gd name="T9" fmla="*/ 40 h 350"/>
                  <a:gd name="T10" fmla="*/ 153 w 367"/>
                  <a:gd name="T11" fmla="*/ 71 h 350"/>
                  <a:gd name="T12" fmla="*/ 183 w 367"/>
                  <a:gd name="T13" fmla="*/ 108 h 350"/>
                  <a:gd name="T14" fmla="*/ 214 w 367"/>
                  <a:gd name="T15" fmla="*/ 71 h 350"/>
                  <a:gd name="T16" fmla="*/ 268 w 367"/>
                  <a:gd name="T17" fmla="*/ 40 h 350"/>
                  <a:gd name="T18" fmla="*/ 280 w 367"/>
                  <a:gd name="T19" fmla="*/ 41 h 350"/>
                  <a:gd name="T20" fmla="*/ 327 w 367"/>
                  <a:gd name="T21" fmla="*/ 102 h 350"/>
                  <a:gd name="T22" fmla="*/ 327 w 367"/>
                  <a:gd name="T23" fmla="*/ 120 h 350"/>
                  <a:gd name="T24" fmla="*/ 327 w 367"/>
                  <a:gd name="T25" fmla="*/ 121 h 350"/>
                  <a:gd name="T26" fmla="*/ 329 w 367"/>
                  <a:gd name="T27" fmla="*/ 162 h 350"/>
                  <a:gd name="T28" fmla="*/ 358 w 367"/>
                  <a:gd name="T29" fmla="*/ 162 h 350"/>
                  <a:gd name="T30" fmla="*/ 367 w 367"/>
                  <a:gd name="T31" fmla="*/ 121 h 350"/>
                  <a:gd name="T32" fmla="*/ 367 w 367"/>
                  <a:gd name="T33" fmla="*/ 100 h 350"/>
                  <a:gd name="T34" fmla="*/ 284 w 367"/>
                  <a:gd name="T35" fmla="*/ 1 h 350"/>
                  <a:gd name="T36" fmla="*/ 268 w 367"/>
                  <a:gd name="T37" fmla="*/ 0 h 350"/>
                  <a:gd name="T38" fmla="*/ 183 w 367"/>
                  <a:gd name="T39" fmla="*/ 45 h 350"/>
                  <a:gd name="T40" fmla="*/ 99 w 367"/>
                  <a:gd name="T41" fmla="*/ 0 h 350"/>
                  <a:gd name="T42" fmla="*/ 83 w 367"/>
                  <a:gd name="T43" fmla="*/ 1 h 350"/>
                  <a:gd name="T44" fmla="*/ 0 w 367"/>
                  <a:gd name="T45" fmla="*/ 100 h 350"/>
                  <a:gd name="T46" fmla="*/ 0 w 367"/>
                  <a:gd name="T47" fmla="*/ 121 h 350"/>
                  <a:gd name="T48" fmla="*/ 183 w 367"/>
                  <a:gd name="T49" fmla="*/ 350 h 350"/>
                  <a:gd name="T50" fmla="*/ 226 w 367"/>
                  <a:gd name="T51" fmla="*/ 318 h 350"/>
                  <a:gd name="T52" fmla="*/ 226 w 367"/>
                  <a:gd name="T53" fmla="*/ 291 h 350"/>
                  <a:gd name="T54" fmla="*/ 195 w 367"/>
                  <a:gd name="T55" fmla="*/ 291 h 350"/>
                  <a:gd name="T56" fmla="*/ 183 w 367"/>
                  <a:gd name="T57" fmla="*/ 30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7" h="350">
                    <a:moveTo>
                      <a:pt x="183" y="300"/>
                    </a:moveTo>
                    <a:cubicBezTo>
                      <a:pt x="93" y="233"/>
                      <a:pt x="45" y="172"/>
                      <a:pt x="40" y="120"/>
                    </a:cubicBezTo>
                    <a:cubicBezTo>
                      <a:pt x="40" y="102"/>
                      <a:pt x="40" y="102"/>
                      <a:pt x="40" y="102"/>
                    </a:cubicBezTo>
                    <a:cubicBezTo>
                      <a:pt x="44" y="60"/>
                      <a:pt x="70" y="43"/>
                      <a:pt x="87" y="41"/>
                    </a:cubicBezTo>
                    <a:cubicBezTo>
                      <a:pt x="91" y="40"/>
                      <a:pt x="95" y="40"/>
                      <a:pt x="99" y="40"/>
                    </a:cubicBezTo>
                    <a:cubicBezTo>
                      <a:pt x="123" y="40"/>
                      <a:pt x="133" y="48"/>
                      <a:pt x="153" y="71"/>
                    </a:cubicBezTo>
                    <a:cubicBezTo>
                      <a:pt x="183" y="108"/>
                      <a:pt x="183" y="108"/>
                      <a:pt x="183" y="108"/>
                    </a:cubicBezTo>
                    <a:cubicBezTo>
                      <a:pt x="214" y="71"/>
                      <a:pt x="214" y="71"/>
                      <a:pt x="214" y="71"/>
                    </a:cubicBezTo>
                    <a:cubicBezTo>
                      <a:pt x="234" y="48"/>
                      <a:pt x="244" y="40"/>
                      <a:pt x="268" y="40"/>
                    </a:cubicBezTo>
                    <a:cubicBezTo>
                      <a:pt x="272" y="40"/>
                      <a:pt x="276" y="40"/>
                      <a:pt x="280" y="41"/>
                    </a:cubicBezTo>
                    <a:cubicBezTo>
                      <a:pt x="297" y="43"/>
                      <a:pt x="323" y="60"/>
                      <a:pt x="327" y="102"/>
                    </a:cubicBezTo>
                    <a:cubicBezTo>
                      <a:pt x="327" y="120"/>
                      <a:pt x="327" y="120"/>
                      <a:pt x="327" y="120"/>
                    </a:cubicBezTo>
                    <a:cubicBezTo>
                      <a:pt x="327" y="121"/>
                      <a:pt x="327" y="121"/>
                      <a:pt x="327" y="121"/>
                    </a:cubicBezTo>
                    <a:cubicBezTo>
                      <a:pt x="329" y="162"/>
                      <a:pt x="329" y="162"/>
                      <a:pt x="329" y="162"/>
                    </a:cubicBezTo>
                    <a:cubicBezTo>
                      <a:pt x="358" y="162"/>
                      <a:pt x="358" y="162"/>
                      <a:pt x="358" y="162"/>
                    </a:cubicBezTo>
                    <a:cubicBezTo>
                      <a:pt x="363" y="148"/>
                      <a:pt x="366" y="134"/>
                      <a:pt x="367" y="121"/>
                    </a:cubicBezTo>
                    <a:cubicBezTo>
                      <a:pt x="367" y="100"/>
                      <a:pt x="367" y="100"/>
                      <a:pt x="367" y="100"/>
                    </a:cubicBezTo>
                    <a:cubicBezTo>
                      <a:pt x="362" y="37"/>
                      <a:pt x="320" y="4"/>
                      <a:pt x="284" y="1"/>
                    </a:cubicBezTo>
                    <a:cubicBezTo>
                      <a:pt x="278" y="0"/>
                      <a:pt x="273" y="0"/>
                      <a:pt x="268" y="0"/>
                    </a:cubicBezTo>
                    <a:cubicBezTo>
                      <a:pt x="226" y="0"/>
                      <a:pt x="206" y="18"/>
                      <a:pt x="183" y="45"/>
                    </a:cubicBezTo>
                    <a:cubicBezTo>
                      <a:pt x="161" y="18"/>
                      <a:pt x="141" y="0"/>
                      <a:pt x="99" y="0"/>
                    </a:cubicBezTo>
                    <a:cubicBezTo>
                      <a:pt x="94" y="0"/>
                      <a:pt x="89" y="0"/>
                      <a:pt x="83" y="1"/>
                    </a:cubicBezTo>
                    <a:cubicBezTo>
                      <a:pt x="47" y="4"/>
                      <a:pt x="5" y="37"/>
                      <a:pt x="0" y="100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5" y="182"/>
                      <a:pt x="50" y="256"/>
                      <a:pt x="183" y="350"/>
                    </a:cubicBezTo>
                    <a:cubicBezTo>
                      <a:pt x="199" y="339"/>
                      <a:pt x="213" y="329"/>
                      <a:pt x="226" y="318"/>
                    </a:cubicBezTo>
                    <a:cubicBezTo>
                      <a:pt x="226" y="291"/>
                      <a:pt x="226" y="291"/>
                      <a:pt x="226" y="291"/>
                    </a:cubicBezTo>
                    <a:cubicBezTo>
                      <a:pt x="195" y="291"/>
                      <a:pt x="195" y="291"/>
                      <a:pt x="195" y="291"/>
                    </a:cubicBezTo>
                    <a:cubicBezTo>
                      <a:pt x="191" y="294"/>
                      <a:pt x="188" y="297"/>
                      <a:pt x="183" y="3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" name="Freeform 11"/>
              <p:cNvSpPr>
                <a:spLocks/>
              </p:cNvSpPr>
              <p:nvPr/>
            </p:nvSpPr>
            <p:spPr bwMode="auto">
              <a:xfrm>
                <a:off x="8596158" y="-113145"/>
                <a:ext cx="385763" cy="385763"/>
              </a:xfrm>
              <a:custGeom>
                <a:avLst/>
                <a:gdLst>
                  <a:gd name="T0" fmla="*/ 158 w 243"/>
                  <a:gd name="T1" fmla="*/ 84 h 243"/>
                  <a:gd name="T2" fmla="*/ 158 w 243"/>
                  <a:gd name="T3" fmla="*/ 0 h 243"/>
                  <a:gd name="T4" fmla="*/ 86 w 243"/>
                  <a:gd name="T5" fmla="*/ 0 h 243"/>
                  <a:gd name="T6" fmla="*/ 86 w 243"/>
                  <a:gd name="T7" fmla="*/ 84 h 243"/>
                  <a:gd name="T8" fmla="*/ 0 w 243"/>
                  <a:gd name="T9" fmla="*/ 84 h 243"/>
                  <a:gd name="T10" fmla="*/ 0 w 243"/>
                  <a:gd name="T11" fmla="*/ 157 h 243"/>
                  <a:gd name="T12" fmla="*/ 86 w 243"/>
                  <a:gd name="T13" fmla="*/ 157 h 243"/>
                  <a:gd name="T14" fmla="*/ 86 w 243"/>
                  <a:gd name="T15" fmla="*/ 243 h 243"/>
                  <a:gd name="T16" fmla="*/ 158 w 243"/>
                  <a:gd name="T17" fmla="*/ 243 h 243"/>
                  <a:gd name="T18" fmla="*/ 158 w 243"/>
                  <a:gd name="T19" fmla="*/ 157 h 243"/>
                  <a:gd name="T20" fmla="*/ 243 w 243"/>
                  <a:gd name="T21" fmla="*/ 157 h 243"/>
                  <a:gd name="T22" fmla="*/ 243 w 243"/>
                  <a:gd name="T23" fmla="*/ 84 h 243"/>
                  <a:gd name="T24" fmla="*/ 158 w 243"/>
                  <a:gd name="T25" fmla="*/ 84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3" h="243">
                    <a:moveTo>
                      <a:pt x="158" y="84"/>
                    </a:moveTo>
                    <a:lnTo>
                      <a:pt x="158" y="0"/>
                    </a:lnTo>
                    <a:lnTo>
                      <a:pt x="86" y="0"/>
                    </a:lnTo>
                    <a:lnTo>
                      <a:pt x="86" y="84"/>
                    </a:lnTo>
                    <a:lnTo>
                      <a:pt x="0" y="84"/>
                    </a:lnTo>
                    <a:lnTo>
                      <a:pt x="0" y="157"/>
                    </a:lnTo>
                    <a:lnTo>
                      <a:pt x="86" y="157"/>
                    </a:lnTo>
                    <a:lnTo>
                      <a:pt x="86" y="243"/>
                    </a:lnTo>
                    <a:lnTo>
                      <a:pt x="158" y="243"/>
                    </a:lnTo>
                    <a:lnTo>
                      <a:pt x="158" y="157"/>
                    </a:lnTo>
                    <a:lnTo>
                      <a:pt x="243" y="157"/>
                    </a:lnTo>
                    <a:lnTo>
                      <a:pt x="243" y="84"/>
                    </a:lnTo>
                    <a:lnTo>
                      <a:pt x="158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44" name="ZoneTexte 43"/>
          <p:cNvSpPr txBox="1"/>
          <p:nvPr/>
        </p:nvSpPr>
        <p:spPr>
          <a:xfrm>
            <a:off x="874713" y="1602331"/>
            <a:ext cx="10944978" cy="1272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b="1" dirty="0">
                <a:latin typeface="Arial" pitchFamily="34" charset="0"/>
              </a:rPr>
              <a:t>J’installe la </a:t>
            </a:r>
            <a:r>
              <a:rPr lang="fr-FR" sz="1500" b="1" dirty="0" smtClean="0">
                <a:latin typeface="Arial" pitchFamily="34" charset="0"/>
              </a:rPr>
              <a:t>signalétique nécessaire </a:t>
            </a:r>
            <a:r>
              <a:rPr lang="fr-FR" sz="1500" b="1" dirty="0">
                <a:latin typeface="Arial" pitchFamily="34" charset="0"/>
              </a:rPr>
              <a:t>pour identifier </a:t>
            </a:r>
            <a:r>
              <a:rPr lang="fr-FR" sz="1500" b="1" dirty="0" smtClean="0">
                <a:latin typeface="Arial" pitchFamily="34" charset="0"/>
              </a:rPr>
              <a:t>mon/mes </a:t>
            </a:r>
            <a:r>
              <a:rPr lang="fr-FR" sz="1500" b="1" dirty="0">
                <a:latin typeface="Arial" pitchFamily="34" charset="0"/>
              </a:rPr>
              <a:t>DAE </a:t>
            </a:r>
            <a:r>
              <a:rPr lang="fr-FR" sz="1500" dirty="0">
                <a:latin typeface="Arial" pitchFamily="34" charset="0"/>
              </a:rPr>
              <a:t>conformément à l’arrêté du 29 octobre 2019 relatif aux défibrillateurs automatisés externes et à leurs modalités de signalisation dans les lieux publics et les établissements recevant du public ;</a:t>
            </a: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b="1" dirty="0">
                <a:latin typeface="Arial" pitchFamily="34" charset="0"/>
              </a:rPr>
              <a:t>J’assure </a:t>
            </a:r>
            <a:r>
              <a:rPr lang="fr-FR" sz="1500" b="1" dirty="0" smtClean="0">
                <a:latin typeface="Arial" pitchFamily="34" charset="0"/>
              </a:rPr>
              <a:t>la </a:t>
            </a:r>
            <a:r>
              <a:rPr lang="fr-FR" sz="1500" b="1" dirty="0">
                <a:latin typeface="Arial" pitchFamily="34" charset="0"/>
              </a:rPr>
              <a:t>maintenance </a:t>
            </a:r>
            <a:r>
              <a:rPr lang="fr-FR" sz="1500" b="1" dirty="0" smtClean="0">
                <a:latin typeface="Arial" pitchFamily="34" charset="0"/>
              </a:rPr>
              <a:t>de mon/mes DAE </a:t>
            </a:r>
            <a:r>
              <a:rPr lang="fr-FR" sz="1500" dirty="0" smtClean="0">
                <a:latin typeface="Arial" pitchFamily="34" charset="0"/>
              </a:rPr>
              <a:t>conformément </a:t>
            </a:r>
            <a:r>
              <a:rPr lang="fr-FR" sz="1500" dirty="0">
                <a:latin typeface="Arial" pitchFamily="34" charset="0"/>
              </a:rPr>
              <a:t>aux recommandations du fabricant et de l’Agence Nationale de Sécurité du Médicament et des Produits de Santé</a:t>
            </a:r>
            <a:r>
              <a:rPr lang="fr-FR" sz="1500" dirty="0" smtClean="0">
                <a:latin typeface="Arial" pitchFamily="34" charset="0"/>
              </a:rPr>
              <a:t>.</a:t>
            </a:r>
            <a:endParaRPr lang="fr-FR" sz="1500" dirty="0">
              <a:latin typeface="Arial" pitchFamily="34" charset="0"/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874713" y="4000733"/>
            <a:ext cx="1098804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Je m’engage à </a:t>
            </a:r>
            <a:r>
              <a:rPr lang="fr-FR" sz="1500" b="1" dirty="0">
                <a:latin typeface="Arial" pitchFamily="34" charset="0"/>
              </a:rPr>
              <a:t>déclarer, auprès de la base nationale, l’intégralité les données relatives aux DAE que je possède </a:t>
            </a:r>
            <a:r>
              <a:rPr lang="fr-FR" sz="1500" dirty="0">
                <a:latin typeface="Arial" pitchFamily="34" charset="0"/>
              </a:rPr>
              <a:t>conformément au standard défini dans l’arrêté du 29 octobre 2019 relatif au fonctionnement de la base de données des défibrillateurs automatisés externes.</a:t>
            </a:r>
          </a:p>
        </p:txBody>
      </p:sp>
    </p:spTree>
    <p:extLst>
      <p:ext uri="{BB962C8B-B14F-4D97-AF65-F5344CB8AC3E}">
        <p14:creationId xmlns:p14="http://schemas.microsoft.com/office/powerpoint/2010/main" val="2500240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18"/>
          <p:cNvSpPr/>
          <p:nvPr>
            <p:custDataLst>
              <p:tags r:id="rId1"/>
            </p:custDataLst>
          </p:nvPr>
        </p:nvSpPr>
        <p:spPr bwMode="gray">
          <a:xfrm>
            <a:off x="477838" y="1679735"/>
            <a:ext cx="11562630" cy="144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874713" y="1957179"/>
            <a:ext cx="10972274" cy="1041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Après chaque opération de maintenance sur l’appareil, </a:t>
            </a:r>
            <a:r>
              <a:rPr lang="fr-FR" sz="1500" b="1" dirty="0">
                <a:latin typeface="Arial" pitchFamily="34" charset="0"/>
              </a:rPr>
              <a:t>je m’engage à mettre à jour la base de données dans un délai </a:t>
            </a:r>
            <a:r>
              <a:rPr lang="fr-FR" sz="1500" b="1" dirty="0" smtClean="0">
                <a:latin typeface="Arial" pitchFamily="34" charset="0"/>
              </a:rPr>
              <a:t>raisonnable </a:t>
            </a:r>
            <a:r>
              <a:rPr lang="fr-FR" sz="1500" dirty="0" smtClean="0">
                <a:latin typeface="Arial" pitchFamily="34" charset="0"/>
              </a:rPr>
              <a:t>;</a:t>
            </a:r>
            <a:endParaRPr lang="fr-FR" sz="1500" dirty="0">
              <a:latin typeface="Arial" pitchFamily="34" charset="0"/>
            </a:endParaRP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En cas d’utilisation du DAE, </a:t>
            </a:r>
            <a:r>
              <a:rPr lang="fr-FR" sz="1500" b="1" dirty="0">
                <a:latin typeface="Arial" pitchFamily="34" charset="0"/>
              </a:rPr>
              <a:t>je m’engage à le remettre en état conformément aux préconisations du fabricant et à déclarer sa remise en fonctionnement dans la base de données nationale dans un délai </a:t>
            </a:r>
            <a:r>
              <a:rPr lang="fr-FR" sz="1500" b="1" dirty="0" smtClean="0">
                <a:latin typeface="Arial" pitchFamily="34" charset="0"/>
              </a:rPr>
              <a:t>raisonnable</a:t>
            </a:r>
            <a:r>
              <a:rPr lang="fr-FR" sz="1500" dirty="0" smtClean="0">
                <a:latin typeface="Arial" pitchFamily="34" charset="0"/>
              </a:rPr>
              <a:t>.</a:t>
            </a:r>
            <a:endParaRPr lang="fr-FR" sz="1500" dirty="0">
              <a:latin typeface="Arial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638269" y="295030"/>
            <a:ext cx="8712000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is exploitant, sous quelles conditions puis-je utiliser la marque ? </a:t>
            </a:r>
            <a:endParaRPr lang="fr-F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hteck 21"/>
          <p:cNvSpPr/>
          <p:nvPr>
            <p:custDataLst>
              <p:tags r:id="rId2"/>
            </p:custDataLst>
          </p:nvPr>
        </p:nvSpPr>
        <p:spPr bwMode="gray">
          <a:xfrm>
            <a:off x="477838" y="3916592"/>
            <a:ext cx="11560932" cy="216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0" bIns="0" rtlCol="0" anchor="ctr" anchorCtr="0">
            <a:no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endParaRPr lang="fr-FR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0" name="Rechteck 19"/>
          <p:cNvSpPr/>
          <p:nvPr>
            <p:custDataLst>
              <p:tags r:id="rId3"/>
            </p:custDataLst>
          </p:nvPr>
        </p:nvSpPr>
        <p:spPr bwMode="gray">
          <a:xfrm>
            <a:off x="1105810" y="3454430"/>
            <a:ext cx="8280000" cy="540000"/>
          </a:xfrm>
          <a:prstGeom prst="round2Diag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4656" tIns="0" rIns="86389" bIns="0" rtlCol="0" anchor="ctr"/>
          <a:lstStyle/>
          <a:p>
            <a:pPr marL="288000" defTabSz="1219048">
              <a:spcBef>
                <a:spcPct val="0"/>
              </a:spcBef>
              <a:buSzPct val="90000"/>
            </a:pPr>
            <a:r>
              <a:rPr lang="fr-FR" sz="1800" b="1" kern="0" dirty="0">
                <a:solidFill>
                  <a:srgbClr val="FFFFFF"/>
                </a:solidFill>
                <a:cs typeface="Arial" pitchFamily="34" charset="0"/>
              </a:rPr>
              <a:t>Je traite les signalements citoyens dans un délai </a:t>
            </a:r>
            <a:r>
              <a:rPr lang="fr-FR" sz="1800" b="1" kern="0" dirty="0" smtClean="0">
                <a:solidFill>
                  <a:srgbClr val="FFFFFF"/>
                </a:solidFill>
                <a:cs typeface="Arial" pitchFamily="34" charset="0"/>
              </a:rPr>
              <a:t>raisonnable après </a:t>
            </a:r>
            <a:r>
              <a:rPr lang="fr-FR" sz="1800" b="1" kern="0" dirty="0">
                <a:solidFill>
                  <a:srgbClr val="FFFFFF"/>
                </a:solidFill>
                <a:cs typeface="Arial" pitchFamily="34" charset="0"/>
              </a:rPr>
              <a:t>réception du signalement</a:t>
            </a:r>
          </a:p>
        </p:txBody>
      </p:sp>
      <p:sp>
        <p:nvSpPr>
          <p:cNvPr id="17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09982"/>
            <a:ext cx="1799766" cy="360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4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1" name="Rectangle avec coins arrondis en diagonale 20">
            <a:extLst>
              <a:ext uri="{FF2B5EF4-FFF2-40B4-BE49-F238E27FC236}">
                <a16:creationId xmlns:a16="http://schemas.microsoft.com/office/drawing/2014/main" id="{E88DB530-21C2-EC48-AB99-4DFA630FA8C9}"/>
              </a:ext>
            </a:extLst>
          </p:cNvPr>
          <p:cNvSpPr/>
          <p:nvPr/>
        </p:nvSpPr>
        <p:spPr bwMode="gray">
          <a:xfrm>
            <a:off x="1104158" y="1175525"/>
            <a:ext cx="8280000" cy="540000"/>
          </a:xfrm>
          <a:prstGeom prst="round2DiagRect">
            <a:avLst/>
          </a:prstGeom>
          <a:solidFill>
            <a:srgbClr val="2E72B0"/>
          </a:solidFill>
          <a:ln w="38100" algn="ctr">
            <a:noFill/>
            <a:miter lim="800000"/>
            <a:headEnd/>
            <a:tailEnd/>
          </a:ln>
          <a:effectLst/>
        </p:spPr>
        <p:txBody>
          <a:bodyPr wrap="none" lIns="0" tIns="0" rIns="0" bIns="36000" rtlCol="0" anchor="ctr"/>
          <a:lstStyle/>
          <a:p>
            <a:pPr marL="288000"/>
            <a:r>
              <a:rPr lang="fr-FR" sz="1800" b="1" dirty="0">
                <a:solidFill>
                  <a:schemeClr val="bg1"/>
                </a:solidFill>
                <a:cs typeface="Arial" panose="020B0604020202020204" pitchFamily="34" charset="0"/>
              </a:rPr>
              <a:t>Je mets à jour la base de données dans un délai </a:t>
            </a:r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raisonnable en cas</a:t>
            </a:r>
          </a:p>
          <a:p>
            <a:pPr marL="288000"/>
            <a:r>
              <a:rPr lang="fr-FR" sz="18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fr-FR" sz="1800" b="1" dirty="0">
                <a:solidFill>
                  <a:schemeClr val="bg1"/>
                </a:solidFill>
                <a:cs typeface="Arial" panose="020B0604020202020204" pitchFamily="34" charset="0"/>
              </a:rPr>
              <a:t>de maintenance ou d’utilisation du DAE</a:t>
            </a:r>
          </a:p>
        </p:txBody>
      </p:sp>
      <p:grpSp>
        <p:nvGrpSpPr>
          <p:cNvPr id="4" name="Groupe 3"/>
          <p:cNvGrpSpPr/>
          <p:nvPr/>
        </p:nvGrpSpPr>
        <p:grpSpPr>
          <a:xfrm>
            <a:off x="315144" y="1073598"/>
            <a:ext cx="972002" cy="972000"/>
            <a:chOff x="492568" y="1073598"/>
            <a:chExt cx="972002" cy="972000"/>
          </a:xfrm>
        </p:grpSpPr>
        <p:grpSp>
          <p:nvGrpSpPr>
            <p:cNvPr id="23" name="Gruppieren 27">
              <a:extLst>
                <a:ext uri="{FF2B5EF4-FFF2-40B4-BE49-F238E27FC236}">
                  <a16:creationId xmlns:a16="http://schemas.microsoft.com/office/drawing/2014/main" id="{A86C02A6-7A47-0643-9605-75F8102EDF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568" y="1073598"/>
              <a:ext cx="972002" cy="972000"/>
              <a:chOff x="7502618" y="1206411"/>
              <a:chExt cx="650014" cy="650013"/>
            </a:xfrm>
            <a:solidFill>
              <a:srgbClr val="E97B7B"/>
            </a:solidFill>
          </p:grpSpPr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3F79BEB0-6F7D-FA4B-80AB-E09E16CD7EF4}"/>
                  </a:ext>
                </a:extLst>
              </p:cNvPr>
              <p:cNvSpPr/>
              <p:nvPr/>
            </p:nvSpPr>
            <p:spPr bwMode="gray">
              <a:xfrm>
                <a:off x="7502618" y="1206412"/>
                <a:ext cx="487510" cy="487510"/>
              </a:xfrm>
              <a:prstGeom prst="ellipse">
                <a:avLst/>
              </a:prstGeom>
              <a:grpFill/>
              <a:ln w="15240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D910C680-A94C-6A4A-A1C0-68776357678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502619" y="1206411"/>
                <a:ext cx="650013" cy="650013"/>
              </a:xfrm>
              <a:prstGeom prst="ellipse">
                <a:avLst/>
              </a:prstGeom>
              <a:solidFill>
                <a:srgbClr val="2E72B0"/>
              </a:solidFill>
              <a:ln w="5715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fr-CA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18" name="Group 6238"/>
            <p:cNvGrpSpPr/>
            <p:nvPr/>
          </p:nvGrpSpPr>
          <p:grpSpPr>
            <a:xfrm>
              <a:off x="634467" y="1264945"/>
              <a:ext cx="678857" cy="678857"/>
              <a:chOff x="8194520" y="-424295"/>
              <a:chExt cx="787401" cy="741363"/>
            </a:xfrm>
            <a:solidFill>
              <a:schemeClr val="bg1"/>
            </a:solidFill>
          </p:grpSpPr>
          <p:sp>
            <p:nvSpPr>
              <p:cNvPr id="19" name="Freeform 10"/>
              <p:cNvSpPr>
                <a:spLocks/>
              </p:cNvSpPr>
              <p:nvPr/>
            </p:nvSpPr>
            <p:spPr bwMode="auto">
              <a:xfrm>
                <a:off x="8194520" y="-424295"/>
                <a:ext cx="777875" cy="741363"/>
              </a:xfrm>
              <a:custGeom>
                <a:avLst/>
                <a:gdLst>
                  <a:gd name="T0" fmla="*/ 183 w 367"/>
                  <a:gd name="T1" fmla="*/ 300 h 350"/>
                  <a:gd name="T2" fmla="*/ 40 w 367"/>
                  <a:gd name="T3" fmla="*/ 120 h 350"/>
                  <a:gd name="T4" fmla="*/ 40 w 367"/>
                  <a:gd name="T5" fmla="*/ 102 h 350"/>
                  <a:gd name="T6" fmla="*/ 87 w 367"/>
                  <a:gd name="T7" fmla="*/ 41 h 350"/>
                  <a:gd name="T8" fmla="*/ 99 w 367"/>
                  <a:gd name="T9" fmla="*/ 40 h 350"/>
                  <a:gd name="T10" fmla="*/ 153 w 367"/>
                  <a:gd name="T11" fmla="*/ 71 h 350"/>
                  <a:gd name="T12" fmla="*/ 183 w 367"/>
                  <a:gd name="T13" fmla="*/ 108 h 350"/>
                  <a:gd name="T14" fmla="*/ 214 w 367"/>
                  <a:gd name="T15" fmla="*/ 71 h 350"/>
                  <a:gd name="T16" fmla="*/ 268 w 367"/>
                  <a:gd name="T17" fmla="*/ 40 h 350"/>
                  <a:gd name="T18" fmla="*/ 280 w 367"/>
                  <a:gd name="T19" fmla="*/ 41 h 350"/>
                  <a:gd name="T20" fmla="*/ 327 w 367"/>
                  <a:gd name="T21" fmla="*/ 102 h 350"/>
                  <a:gd name="T22" fmla="*/ 327 w 367"/>
                  <a:gd name="T23" fmla="*/ 120 h 350"/>
                  <a:gd name="T24" fmla="*/ 327 w 367"/>
                  <a:gd name="T25" fmla="*/ 121 h 350"/>
                  <a:gd name="T26" fmla="*/ 329 w 367"/>
                  <a:gd name="T27" fmla="*/ 162 h 350"/>
                  <a:gd name="T28" fmla="*/ 358 w 367"/>
                  <a:gd name="T29" fmla="*/ 162 h 350"/>
                  <a:gd name="T30" fmla="*/ 367 w 367"/>
                  <a:gd name="T31" fmla="*/ 121 h 350"/>
                  <a:gd name="T32" fmla="*/ 367 w 367"/>
                  <a:gd name="T33" fmla="*/ 100 h 350"/>
                  <a:gd name="T34" fmla="*/ 284 w 367"/>
                  <a:gd name="T35" fmla="*/ 1 h 350"/>
                  <a:gd name="T36" fmla="*/ 268 w 367"/>
                  <a:gd name="T37" fmla="*/ 0 h 350"/>
                  <a:gd name="T38" fmla="*/ 183 w 367"/>
                  <a:gd name="T39" fmla="*/ 45 h 350"/>
                  <a:gd name="T40" fmla="*/ 99 w 367"/>
                  <a:gd name="T41" fmla="*/ 0 h 350"/>
                  <a:gd name="T42" fmla="*/ 83 w 367"/>
                  <a:gd name="T43" fmla="*/ 1 h 350"/>
                  <a:gd name="T44" fmla="*/ 0 w 367"/>
                  <a:gd name="T45" fmla="*/ 100 h 350"/>
                  <a:gd name="T46" fmla="*/ 0 w 367"/>
                  <a:gd name="T47" fmla="*/ 121 h 350"/>
                  <a:gd name="T48" fmla="*/ 183 w 367"/>
                  <a:gd name="T49" fmla="*/ 350 h 350"/>
                  <a:gd name="T50" fmla="*/ 226 w 367"/>
                  <a:gd name="T51" fmla="*/ 318 h 350"/>
                  <a:gd name="T52" fmla="*/ 226 w 367"/>
                  <a:gd name="T53" fmla="*/ 291 h 350"/>
                  <a:gd name="T54" fmla="*/ 195 w 367"/>
                  <a:gd name="T55" fmla="*/ 291 h 350"/>
                  <a:gd name="T56" fmla="*/ 183 w 367"/>
                  <a:gd name="T57" fmla="*/ 30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7" h="350">
                    <a:moveTo>
                      <a:pt x="183" y="300"/>
                    </a:moveTo>
                    <a:cubicBezTo>
                      <a:pt x="93" y="233"/>
                      <a:pt x="45" y="172"/>
                      <a:pt x="40" y="120"/>
                    </a:cubicBezTo>
                    <a:cubicBezTo>
                      <a:pt x="40" y="102"/>
                      <a:pt x="40" y="102"/>
                      <a:pt x="40" y="102"/>
                    </a:cubicBezTo>
                    <a:cubicBezTo>
                      <a:pt x="44" y="60"/>
                      <a:pt x="70" y="43"/>
                      <a:pt x="87" y="41"/>
                    </a:cubicBezTo>
                    <a:cubicBezTo>
                      <a:pt x="91" y="40"/>
                      <a:pt x="95" y="40"/>
                      <a:pt x="99" y="40"/>
                    </a:cubicBezTo>
                    <a:cubicBezTo>
                      <a:pt x="123" y="40"/>
                      <a:pt x="133" y="48"/>
                      <a:pt x="153" y="71"/>
                    </a:cubicBezTo>
                    <a:cubicBezTo>
                      <a:pt x="183" y="108"/>
                      <a:pt x="183" y="108"/>
                      <a:pt x="183" y="108"/>
                    </a:cubicBezTo>
                    <a:cubicBezTo>
                      <a:pt x="214" y="71"/>
                      <a:pt x="214" y="71"/>
                      <a:pt x="214" y="71"/>
                    </a:cubicBezTo>
                    <a:cubicBezTo>
                      <a:pt x="234" y="48"/>
                      <a:pt x="244" y="40"/>
                      <a:pt x="268" y="40"/>
                    </a:cubicBezTo>
                    <a:cubicBezTo>
                      <a:pt x="272" y="40"/>
                      <a:pt x="276" y="40"/>
                      <a:pt x="280" y="41"/>
                    </a:cubicBezTo>
                    <a:cubicBezTo>
                      <a:pt x="297" y="43"/>
                      <a:pt x="323" y="60"/>
                      <a:pt x="327" y="102"/>
                    </a:cubicBezTo>
                    <a:cubicBezTo>
                      <a:pt x="327" y="120"/>
                      <a:pt x="327" y="120"/>
                      <a:pt x="327" y="120"/>
                    </a:cubicBezTo>
                    <a:cubicBezTo>
                      <a:pt x="327" y="121"/>
                      <a:pt x="327" y="121"/>
                      <a:pt x="327" y="121"/>
                    </a:cubicBezTo>
                    <a:cubicBezTo>
                      <a:pt x="329" y="162"/>
                      <a:pt x="329" y="162"/>
                      <a:pt x="329" y="162"/>
                    </a:cubicBezTo>
                    <a:cubicBezTo>
                      <a:pt x="358" y="162"/>
                      <a:pt x="358" y="162"/>
                      <a:pt x="358" y="162"/>
                    </a:cubicBezTo>
                    <a:cubicBezTo>
                      <a:pt x="363" y="148"/>
                      <a:pt x="366" y="134"/>
                      <a:pt x="367" y="121"/>
                    </a:cubicBezTo>
                    <a:cubicBezTo>
                      <a:pt x="367" y="100"/>
                      <a:pt x="367" y="100"/>
                      <a:pt x="367" y="100"/>
                    </a:cubicBezTo>
                    <a:cubicBezTo>
                      <a:pt x="362" y="37"/>
                      <a:pt x="320" y="4"/>
                      <a:pt x="284" y="1"/>
                    </a:cubicBezTo>
                    <a:cubicBezTo>
                      <a:pt x="278" y="0"/>
                      <a:pt x="273" y="0"/>
                      <a:pt x="268" y="0"/>
                    </a:cubicBezTo>
                    <a:cubicBezTo>
                      <a:pt x="226" y="0"/>
                      <a:pt x="206" y="18"/>
                      <a:pt x="183" y="45"/>
                    </a:cubicBezTo>
                    <a:cubicBezTo>
                      <a:pt x="161" y="18"/>
                      <a:pt x="141" y="0"/>
                      <a:pt x="99" y="0"/>
                    </a:cubicBezTo>
                    <a:cubicBezTo>
                      <a:pt x="94" y="0"/>
                      <a:pt x="89" y="0"/>
                      <a:pt x="83" y="1"/>
                    </a:cubicBezTo>
                    <a:cubicBezTo>
                      <a:pt x="47" y="4"/>
                      <a:pt x="5" y="37"/>
                      <a:pt x="0" y="100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5" y="182"/>
                      <a:pt x="50" y="256"/>
                      <a:pt x="183" y="350"/>
                    </a:cubicBezTo>
                    <a:cubicBezTo>
                      <a:pt x="199" y="339"/>
                      <a:pt x="213" y="329"/>
                      <a:pt x="226" y="318"/>
                    </a:cubicBezTo>
                    <a:cubicBezTo>
                      <a:pt x="226" y="291"/>
                      <a:pt x="226" y="291"/>
                      <a:pt x="226" y="291"/>
                    </a:cubicBezTo>
                    <a:cubicBezTo>
                      <a:pt x="195" y="291"/>
                      <a:pt x="195" y="291"/>
                      <a:pt x="195" y="291"/>
                    </a:cubicBezTo>
                    <a:cubicBezTo>
                      <a:pt x="191" y="294"/>
                      <a:pt x="188" y="297"/>
                      <a:pt x="183" y="3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Freeform 11"/>
              <p:cNvSpPr>
                <a:spLocks/>
              </p:cNvSpPr>
              <p:nvPr/>
            </p:nvSpPr>
            <p:spPr bwMode="auto">
              <a:xfrm>
                <a:off x="8596158" y="-113145"/>
                <a:ext cx="385763" cy="385763"/>
              </a:xfrm>
              <a:custGeom>
                <a:avLst/>
                <a:gdLst>
                  <a:gd name="T0" fmla="*/ 158 w 243"/>
                  <a:gd name="T1" fmla="*/ 84 h 243"/>
                  <a:gd name="T2" fmla="*/ 158 w 243"/>
                  <a:gd name="T3" fmla="*/ 0 h 243"/>
                  <a:gd name="T4" fmla="*/ 86 w 243"/>
                  <a:gd name="T5" fmla="*/ 0 h 243"/>
                  <a:gd name="T6" fmla="*/ 86 w 243"/>
                  <a:gd name="T7" fmla="*/ 84 h 243"/>
                  <a:gd name="T8" fmla="*/ 0 w 243"/>
                  <a:gd name="T9" fmla="*/ 84 h 243"/>
                  <a:gd name="T10" fmla="*/ 0 w 243"/>
                  <a:gd name="T11" fmla="*/ 157 h 243"/>
                  <a:gd name="T12" fmla="*/ 86 w 243"/>
                  <a:gd name="T13" fmla="*/ 157 h 243"/>
                  <a:gd name="T14" fmla="*/ 86 w 243"/>
                  <a:gd name="T15" fmla="*/ 243 h 243"/>
                  <a:gd name="T16" fmla="*/ 158 w 243"/>
                  <a:gd name="T17" fmla="*/ 243 h 243"/>
                  <a:gd name="T18" fmla="*/ 158 w 243"/>
                  <a:gd name="T19" fmla="*/ 157 h 243"/>
                  <a:gd name="T20" fmla="*/ 243 w 243"/>
                  <a:gd name="T21" fmla="*/ 157 h 243"/>
                  <a:gd name="T22" fmla="*/ 243 w 243"/>
                  <a:gd name="T23" fmla="*/ 84 h 243"/>
                  <a:gd name="T24" fmla="*/ 158 w 243"/>
                  <a:gd name="T25" fmla="*/ 84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3" h="243">
                    <a:moveTo>
                      <a:pt x="158" y="84"/>
                    </a:moveTo>
                    <a:lnTo>
                      <a:pt x="158" y="0"/>
                    </a:lnTo>
                    <a:lnTo>
                      <a:pt x="86" y="0"/>
                    </a:lnTo>
                    <a:lnTo>
                      <a:pt x="86" y="84"/>
                    </a:lnTo>
                    <a:lnTo>
                      <a:pt x="0" y="84"/>
                    </a:lnTo>
                    <a:lnTo>
                      <a:pt x="0" y="157"/>
                    </a:lnTo>
                    <a:lnTo>
                      <a:pt x="86" y="157"/>
                    </a:lnTo>
                    <a:lnTo>
                      <a:pt x="86" y="243"/>
                    </a:lnTo>
                    <a:lnTo>
                      <a:pt x="158" y="243"/>
                    </a:lnTo>
                    <a:lnTo>
                      <a:pt x="158" y="157"/>
                    </a:lnTo>
                    <a:lnTo>
                      <a:pt x="243" y="157"/>
                    </a:lnTo>
                    <a:lnTo>
                      <a:pt x="243" y="84"/>
                    </a:lnTo>
                    <a:lnTo>
                      <a:pt x="158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36" name="Groupe 35"/>
          <p:cNvGrpSpPr/>
          <p:nvPr/>
        </p:nvGrpSpPr>
        <p:grpSpPr>
          <a:xfrm>
            <a:off x="315144" y="3251903"/>
            <a:ext cx="972002" cy="972000"/>
            <a:chOff x="492568" y="1073598"/>
            <a:chExt cx="972002" cy="972000"/>
          </a:xfrm>
        </p:grpSpPr>
        <p:grpSp>
          <p:nvGrpSpPr>
            <p:cNvPr id="37" name="Gruppieren 27">
              <a:extLst>
                <a:ext uri="{FF2B5EF4-FFF2-40B4-BE49-F238E27FC236}">
                  <a16:creationId xmlns:a16="http://schemas.microsoft.com/office/drawing/2014/main" id="{A86C02A6-7A47-0643-9605-75F8102EDF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568" y="1073598"/>
              <a:ext cx="972002" cy="972000"/>
              <a:chOff x="7502618" y="1206411"/>
              <a:chExt cx="650014" cy="650013"/>
            </a:xfrm>
            <a:solidFill>
              <a:srgbClr val="E97B7B"/>
            </a:solidFill>
          </p:grpSpPr>
          <p:sp>
            <p:nvSpPr>
              <p:cNvPr id="41" name="Ellipse 40">
                <a:extLst>
                  <a:ext uri="{FF2B5EF4-FFF2-40B4-BE49-F238E27FC236}">
                    <a16:creationId xmlns:a16="http://schemas.microsoft.com/office/drawing/2014/main" id="{3F79BEB0-6F7D-FA4B-80AB-E09E16CD7EF4}"/>
                  </a:ext>
                </a:extLst>
              </p:cNvPr>
              <p:cNvSpPr/>
              <p:nvPr/>
            </p:nvSpPr>
            <p:spPr bwMode="gray">
              <a:xfrm>
                <a:off x="7502618" y="1206412"/>
                <a:ext cx="487510" cy="487510"/>
              </a:xfrm>
              <a:prstGeom prst="ellipse">
                <a:avLst/>
              </a:prstGeom>
              <a:grpFill/>
              <a:ln w="15240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42" name="Ellipse 41">
                <a:extLst>
                  <a:ext uri="{FF2B5EF4-FFF2-40B4-BE49-F238E27FC236}">
                    <a16:creationId xmlns:a16="http://schemas.microsoft.com/office/drawing/2014/main" id="{D910C680-A94C-6A4A-A1C0-68776357678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502619" y="1206411"/>
                <a:ext cx="650013" cy="650013"/>
              </a:xfrm>
              <a:prstGeom prst="ellipse">
                <a:avLst/>
              </a:prstGeom>
              <a:solidFill>
                <a:srgbClr val="1F497D"/>
              </a:solidFill>
              <a:ln w="5715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fr-CA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38" name="Group 6238"/>
            <p:cNvGrpSpPr/>
            <p:nvPr/>
          </p:nvGrpSpPr>
          <p:grpSpPr>
            <a:xfrm>
              <a:off x="634467" y="1264945"/>
              <a:ext cx="678857" cy="678857"/>
              <a:chOff x="8194520" y="-424295"/>
              <a:chExt cx="787401" cy="741363"/>
            </a:xfrm>
            <a:solidFill>
              <a:schemeClr val="bg1"/>
            </a:solidFill>
          </p:grpSpPr>
          <p:sp>
            <p:nvSpPr>
              <p:cNvPr id="39" name="Freeform 10"/>
              <p:cNvSpPr>
                <a:spLocks/>
              </p:cNvSpPr>
              <p:nvPr/>
            </p:nvSpPr>
            <p:spPr bwMode="auto">
              <a:xfrm>
                <a:off x="8194520" y="-424295"/>
                <a:ext cx="777875" cy="741363"/>
              </a:xfrm>
              <a:custGeom>
                <a:avLst/>
                <a:gdLst>
                  <a:gd name="T0" fmla="*/ 183 w 367"/>
                  <a:gd name="T1" fmla="*/ 300 h 350"/>
                  <a:gd name="T2" fmla="*/ 40 w 367"/>
                  <a:gd name="T3" fmla="*/ 120 h 350"/>
                  <a:gd name="T4" fmla="*/ 40 w 367"/>
                  <a:gd name="T5" fmla="*/ 102 h 350"/>
                  <a:gd name="T6" fmla="*/ 87 w 367"/>
                  <a:gd name="T7" fmla="*/ 41 h 350"/>
                  <a:gd name="T8" fmla="*/ 99 w 367"/>
                  <a:gd name="T9" fmla="*/ 40 h 350"/>
                  <a:gd name="T10" fmla="*/ 153 w 367"/>
                  <a:gd name="T11" fmla="*/ 71 h 350"/>
                  <a:gd name="T12" fmla="*/ 183 w 367"/>
                  <a:gd name="T13" fmla="*/ 108 h 350"/>
                  <a:gd name="T14" fmla="*/ 214 w 367"/>
                  <a:gd name="T15" fmla="*/ 71 h 350"/>
                  <a:gd name="T16" fmla="*/ 268 w 367"/>
                  <a:gd name="T17" fmla="*/ 40 h 350"/>
                  <a:gd name="T18" fmla="*/ 280 w 367"/>
                  <a:gd name="T19" fmla="*/ 41 h 350"/>
                  <a:gd name="T20" fmla="*/ 327 w 367"/>
                  <a:gd name="T21" fmla="*/ 102 h 350"/>
                  <a:gd name="T22" fmla="*/ 327 w 367"/>
                  <a:gd name="T23" fmla="*/ 120 h 350"/>
                  <a:gd name="T24" fmla="*/ 327 w 367"/>
                  <a:gd name="T25" fmla="*/ 121 h 350"/>
                  <a:gd name="T26" fmla="*/ 329 w 367"/>
                  <a:gd name="T27" fmla="*/ 162 h 350"/>
                  <a:gd name="T28" fmla="*/ 358 w 367"/>
                  <a:gd name="T29" fmla="*/ 162 h 350"/>
                  <a:gd name="T30" fmla="*/ 367 w 367"/>
                  <a:gd name="T31" fmla="*/ 121 h 350"/>
                  <a:gd name="T32" fmla="*/ 367 w 367"/>
                  <a:gd name="T33" fmla="*/ 100 h 350"/>
                  <a:gd name="T34" fmla="*/ 284 w 367"/>
                  <a:gd name="T35" fmla="*/ 1 h 350"/>
                  <a:gd name="T36" fmla="*/ 268 w 367"/>
                  <a:gd name="T37" fmla="*/ 0 h 350"/>
                  <a:gd name="T38" fmla="*/ 183 w 367"/>
                  <a:gd name="T39" fmla="*/ 45 h 350"/>
                  <a:gd name="T40" fmla="*/ 99 w 367"/>
                  <a:gd name="T41" fmla="*/ 0 h 350"/>
                  <a:gd name="T42" fmla="*/ 83 w 367"/>
                  <a:gd name="T43" fmla="*/ 1 h 350"/>
                  <a:gd name="T44" fmla="*/ 0 w 367"/>
                  <a:gd name="T45" fmla="*/ 100 h 350"/>
                  <a:gd name="T46" fmla="*/ 0 w 367"/>
                  <a:gd name="T47" fmla="*/ 121 h 350"/>
                  <a:gd name="T48" fmla="*/ 183 w 367"/>
                  <a:gd name="T49" fmla="*/ 350 h 350"/>
                  <a:gd name="T50" fmla="*/ 226 w 367"/>
                  <a:gd name="T51" fmla="*/ 318 h 350"/>
                  <a:gd name="T52" fmla="*/ 226 w 367"/>
                  <a:gd name="T53" fmla="*/ 291 h 350"/>
                  <a:gd name="T54" fmla="*/ 195 w 367"/>
                  <a:gd name="T55" fmla="*/ 291 h 350"/>
                  <a:gd name="T56" fmla="*/ 183 w 367"/>
                  <a:gd name="T57" fmla="*/ 30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7" h="350">
                    <a:moveTo>
                      <a:pt x="183" y="300"/>
                    </a:moveTo>
                    <a:cubicBezTo>
                      <a:pt x="93" y="233"/>
                      <a:pt x="45" y="172"/>
                      <a:pt x="40" y="120"/>
                    </a:cubicBezTo>
                    <a:cubicBezTo>
                      <a:pt x="40" y="102"/>
                      <a:pt x="40" y="102"/>
                      <a:pt x="40" y="102"/>
                    </a:cubicBezTo>
                    <a:cubicBezTo>
                      <a:pt x="44" y="60"/>
                      <a:pt x="70" y="43"/>
                      <a:pt x="87" y="41"/>
                    </a:cubicBezTo>
                    <a:cubicBezTo>
                      <a:pt x="91" y="40"/>
                      <a:pt x="95" y="40"/>
                      <a:pt x="99" y="40"/>
                    </a:cubicBezTo>
                    <a:cubicBezTo>
                      <a:pt x="123" y="40"/>
                      <a:pt x="133" y="48"/>
                      <a:pt x="153" y="71"/>
                    </a:cubicBezTo>
                    <a:cubicBezTo>
                      <a:pt x="183" y="108"/>
                      <a:pt x="183" y="108"/>
                      <a:pt x="183" y="108"/>
                    </a:cubicBezTo>
                    <a:cubicBezTo>
                      <a:pt x="214" y="71"/>
                      <a:pt x="214" y="71"/>
                      <a:pt x="214" y="71"/>
                    </a:cubicBezTo>
                    <a:cubicBezTo>
                      <a:pt x="234" y="48"/>
                      <a:pt x="244" y="40"/>
                      <a:pt x="268" y="40"/>
                    </a:cubicBezTo>
                    <a:cubicBezTo>
                      <a:pt x="272" y="40"/>
                      <a:pt x="276" y="40"/>
                      <a:pt x="280" y="41"/>
                    </a:cubicBezTo>
                    <a:cubicBezTo>
                      <a:pt x="297" y="43"/>
                      <a:pt x="323" y="60"/>
                      <a:pt x="327" y="102"/>
                    </a:cubicBezTo>
                    <a:cubicBezTo>
                      <a:pt x="327" y="120"/>
                      <a:pt x="327" y="120"/>
                      <a:pt x="327" y="120"/>
                    </a:cubicBezTo>
                    <a:cubicBezTo>
                      <a:pt x="327" y="121"/>
                      <a:pt x="327" y="121"/>
                      <a:pt x="327" y="121"/>
                    </a:cubicBezTo>
                    <a:cubicBezTo>
                      <a:pt x="329" y="162"/>
                      <a:pt x="329" y="162"/>
                      <a:pt x="329" y="162"/>
                    </a:cubicBezTo>
                    <a:cubicBezTo>
                      <a:pt x="358" y="162"/>
                      <a:pt x="358" y="162"/>
                      <a:pt x="358" y="162"/>
                    </a:cubicBezTo>
                    <a:cubicBezTo>
                      <a:pt x="363" y="148"/>
                      <a:pt x="366" y="134"/>
                      <a:pt x="367" y="121"/>
                    </a:cubicBezTo>
                    <a:cubicBezTo>
                      <a:pt x="367" y="100"/>
                      <a:pt x="367" y="100"/>
                      <a:pt x="367" y="100"/>
                    </a:cubicBezTo>
                    <a:cubicBezTo>
                      <a:pt x="362" y="37"/>
                      <a:pt x="320" y="4"/>
                      <a:pt x="284" y="1"/>
                    </a:cubicBezTo>
                    <a:cubicBezTo>
                      <a:pt x="278" y="0"/>
                      <a:pt x="273" y="0"/>
                      <a:pt x="268" y="0"/>
                    </a:cubicBezTo>
                    <a:cubicBezTo>
                      <a:pt x="226" y="0"/>
                      <a:pt x="206" y="18"/>
                      <a:pt x="183" y="45"/>
                    </a:cubicBezTo>
                    <a:cubicBezTo>
                      <a:pt x="161" y="18"/>
                      <a:pt x="141" y="0"/>
                      <a:pt x="99" y="0"/>
                    </a:cubicBezTo>
                    <a:cubicBezTo>
                      <a:pt x="94" y="0"/>
                      <a:pt x="89" y="0"/>
                      <a:pt x="83" y="1"/>
                    </a:cubicBezTo>
                    <a:cubicBezTo>
                      <a:pt x="47" y="4"/>
                      <a:pt x="5" y="37"/>
                      <a:pt x="0" y="100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5" y="182"/>
                      <a:pt x="50" y="256"/>
                      <a:pt x="183" y="350"/>
                    </a:cubicBezTo>
                    <a:cubicBezTo>
                      <a:pt x="199" y="339"/>
                      <a:pt x="213" y="329"/>
                      <a:pt x="226" y="318"/>
                    </a:cubicBezTo>
                    <a:cubicBezTo>
                      <a:pt x="226" y="291"/>
                      <a:pt x="226" y="291"/>
                      <a:pt x="226" y="291"/>
                    </a:cubicBezTo>
                    <a:cubicBezTo>
                      <a:pt x="195" y="291"/>
                      <a:pt x="195" y="291"/>
                      <a:pt x="195" y="291"/>
                    </a:cubicBezTo>
                    <a:cubicBezTo>
                      <a:pt x="191" y="294"/>
                      <a:pt x="188" y="297"/>
                      <a:pt x="183" y="3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0" name="Freeform 11"/>
              <p:cNvSpPr>
                <a:spLocks/>
              </p:cNvSpPr>
              <p:nvPr/>
            </p:nvSpPr>
            <p:spPr bwMode="auto">
              <a:xfrm>
                <a:off x="8596158" y="-113145"/>
                <a:ext cx="385763" cy="385763"/>
              </a:xfrm>
              <a:custGeom>
                <a:avLst/>
                <a:gdLst>
                  <a:gd name="T0" fmla="*/ 158 w 243"/>
                  <a:gd name="T1" fmla="*/ 84 h 243"/>
                  <a:gd name="T2" fmla="*/ 158 w 243"/>
                  <a:gd name="T3" fmla="*/ 0 h 243"/>
                  <a:gd name="T4" fmla="*/ 86 w 243"/>
                  <a:gd name="T5" fmla="*/ 0 h 243"/>
                  <a:gd name="T6" fmla="*/ 86 w 243"/>
                  <a:gd name="T7" fmla="*/ 84 h 243"/>
                  <a:gd name="T8" fmla="*/ 0 w 243"/>
                  <a:gd name="T9" fmla="*/ 84 h 243"/>
                  <a:gd name="T10" fmla="*/ 0 w 243"/>
                  <a:gd name="T11" fmla="*/ 157 h 243"/>
                  <a:gd name="T12" fmla="*/ 86 w 243"/>
                  <a:gd name="T13" fmla="*/ 157 h 243"/>
                  <a:gd name="T14" fmla="*/ 86 w 243"/>
                  <a:gd name="T15" fmla="*/ 243 h 243"/>
                  <a:gd name="T16" fmla="*/ 158 w 243"/>
                  <a:gd name="T17" fmla="*/ 243 h 243"/>
                  <a:gd name="T18" fmla="*/ 158 w 243"/>
                  <a:gd name="T19" fmla="*/ 157 h 243"/>
                  <a:gd name="T20" fmla="*/ 243 w 243"/>
                  <a:gd name="T21" fmla="*/ 157 h 243"/>
                  <a:gd name="T22" fmla="*/ 243 w 243"/>
                  <a:gd name="T23" fmla="*/ 84 h 243"/>
                  <a:gd name="T24" fmla="*/ 158 w 243"/>
                  <a:gd name="T25" fmla="*/ 84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3" h="243">
                    <a:moveTo>
                      <a:pt x="158" y="84"/>
                    </a:moveTo>
                    <a:lnTo>
                      <a:pt x="158" y="0"/>
                    </a:lnTo>
                    <a:lnTo>
                      <a:pt x="86" y="0"/>
                    </a:lnTo>
                    <a:lnTo>
                      <a:pt x="86" y="84"/>
                    </a:lnTo>
                    <a:lnTo>
                      <a:pt x="0" y="84"/>
                    </a:lnTo>
                    <a:lnTo>
                      <a:pt x="0" y="157"/>
                    </a:lnTo>
                    <a:lnTo>
                      <a:pt x="86" y="157"/>
                    </a:lnTo>
                    <a:lnTo>
                      <a:pt x="86" y="243"/>
                    </a:lnTo>
                    <a:lnTo>
                      <a:pt x="158" y="243"/>
                    </a:lnTo>
                    <a:lnTo>
                      <a:pt x="158" y="157"/>
                    </a:lnTo>
                    <a:lnTo>
                      <a:pt x="243" y="157"/>
                    </a:lnTo>
                    <a:lnTo>
                      <a:pt x="243" y="84"/>
                    </a:lnTo>
                    <a:lnTo>
                      <a:pt x="158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04" tIns="60952" rIns="121904" bIns="60952" numCol="1" anchor="t" anchorCtr="0" compatLnSpc="1">
                <a:prstTxWarp prst="textNoShape">
                  <a:avLst/>
                </a:prstTxWarp>
              </a:bodyPr>
              <a:lstStyle/>
              <a:p>
                <a:pPr defTabSz="914309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26" name="ZoneTexte 25"/>
          <p:cNvSpPr txBox="1"/>
          <p:nvPr/>
        </p:nvSpPr>
        <p:spPr>
          <a:xfrm>
            <a:off x="874713" y="4264847"/>
            <a:ext cx="10953208" cy="1528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Par l’intermédiaire de supports recensant les DAE ou par contact direct du Ministère de la Prévention et de la Santé, les </a:t>
            </a:r>
            <a:r>
              <a:rPr lang="fr-FR" sz="1500" b="1" dirty="0">
                <a:latin typeface="Arial" pitchFamily="34" charset="0"/>
              </a:rPr>
              <a:t>citoyens pourront signaler la présence non déclarée d’un DAE ou un dysfonctionnement sur un DAE</a:t>
            </a:r>
            <a:r>
              <a:rPr lang="fr-FR" sz="1500" dirty="0">
                <a:latin typeface="Arial" pitchFamily="34" charset="0"/>
              </a:rPr>
              <a:t> ;</a:t>
            </a: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Une fois contacté par le Ministère de la Santé et de la Prévention, </a:t>
            </a:r>
            <a:r>
              <a:rPr lang="fr-FR" sz="1500" b="1" dirty="0">
                <a:latin typeface="Arial" pitchFamily="34" charset="0"/>
              </a:rPr>
              <a:t>je m’engage à répondre </a:t>
            </a:r>
            <a:r>
              <a:rPr lang="fr-FR" sz="1500" b="1" dirty="0" smtClean="0">
                <a:latin typeface="Arial" pitchFamily="34" charset="0"/>
              </a:rPr>
              <a:t>dans un délai raisonnable pour </a:t>
            </a:r>
            <a:r>
              <a:rPr lang="fr-FR" sz="1500" b="1" dirty="0">
                <a:latin typeface="Arial" pitchFamily="34" charset="0"/>
              </a:rPr>
              <a:t>confirmer ou infirmer le signalement ;</a:t>
            </a:r>
          </a:p>
          <a:p>
            <a:pPr marL="180000" indent="-180000" algn="just"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tabLst>
                <a:tab pos="8429625" algn="l"/>
              </a:tabLst>
              <a:defRPr/>
            </a:pPr>
            <a:r>
              <a:rPr lang="fr-FR" sz="1500" dirty="0">
                <a:latin typeface="Arial" pitchFamily="34" charset="0"/>
              </a:rPr>
              <a:t>En cas de dysfonctionnement, je </a:t>
            </a:r>
            <a:r>
              <a:rPr lang="fr-FR" sz="1500" b="1" dirty="0">
                <a:latin typeface="Arial" pitchFamily="34" charset="0"/>
              </a:rPr>
              <a:t>déclare le DAE comme hors service dans la base de données et mets à jour la base de données une fois le DAE remis en état de fonctionnement</a:t>
            </a:r>
            <a:r>
              <a:rPr lang="fr-FR" sz="1500" dirty="0">
                <a:latin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825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7"/>
          <p:cNvSpPr txBox="1">
            <a:spLocks/>
          </p:cNvSpPr>
          <p:nvPr/>
        </p:nvSpPr>
        <p:spPr>
          <a:xfrm>
            <a:off x="4544703" y="1135561"/>
            <a:ext cx="7483522" cy="396000"/>
          </a:xfrm>
          <a:prstGeom prst="rect">
            <a:avLst/>
          </a:prstGeom>
          <a:solidFill>
            <a:srgbClr val="1F497D"/>
          </a:solidFill>
        </p:spPr>
        <p:txBody>
          <a:bodyPr/>
          <a:lstStyle>
            <a:lvl1pPr marL="380990" indent="-380990" algn="l" defTabSz="1219170" rtl="0" eaLnBrk="1" latinLnBrk="0" hangingPunct="1">
              <a:spcBef>
                <a:spcPct val="2000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lang="fr-FR" sz="2300" b="1" i="0" u="none" strike="noStrike" kern="1200" baseline="0" dirty="0" smtClean="0">
                <a:solidFill>
                  <a:srgbClr val="3C4693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defRPr lang="fr-FR" sz="2000" b="1" kern="1200" dirty="0" smtClean="0">
                <a:solidFill>
                  <a:srgbClr val="C8D223"/>
                </a:solidFill>
                <a:latin typeface="+mj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943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261938" algn="ctr">
              <a:buNone/>
            </a:pPr>
            <a:r>
              <a:rPr lang="fr-F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e d’usage marque « Géo’DAE – Base nationale des défibrillateurs »</a:t>
            </a:r>
          </a:p>
        </p:txBody>
      </p:sp>
      <p:sp>
        <p:nvSpPr>
          <p:cNvPr id="4" name="Rectangle 3"/>
          <p:cNvSpPr/>
          <p:nvPr/>
        </p:nvSpPr>
        <p:spPr>
          <a:xfrm>
            <a:off x="4544685" y="1531561"/>
            <a:ext cx="7481953" cy="22729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5"/>
          <p:cNvSpPr txBox="1">
            <a:spLocks/>
          </p:cNvSpPr>
          <p:nvPr/>
        </p:nvSpPr>
        <p:spPr>
          <a:xfrm>
            <a:off x="496002" y="1768573"/>
            <a:ext cx="3666675" cy="193104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our toute question</a:t>
            </a:r>
          </a:p>
          <a:p>
            <a:pPr algn="ctr"/>
            <a:endParaRPr lang="fr-FR" sz="3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@geodae.sante.gouv.fr</a:t>
            </a:r>
            <a:endParaRPr lang="fr-FR" sz="1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re 5"/>
          <p:cNvSpPr txBox="1">
            <a:spLocks/>
          </p:cNvSpPr>
          <p:nvPr/>
        </p:nvSpPr>
        <p:spPr>
          <a:xfrm>
            <a:off x="309585" y="5248790"/>
            <a:ext cx="4041775" cy="424790"/>
          </a:xfrm>
          <a:prstGeom prst="rect">
            <a:avLst/>
          </a:prstGeom>
        </p:spPr>
        <p:txBody>
          <a:bodyPr lIns="36000" rIns="36000"/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éclarer, Localiser, Sauver</a:t>
            </a:r>
            <a:endParaRPr lang="fr-FR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reeform 9"/>
          <p:cNvSpPr>
            <a:spLocks noChangeAspect="1"/>
          </p:cNvSpPr>
          <p:nvPr/>
        </p:nvSpPr>
        <p:spPr bwMode="gray">
          <a:xfrm>
            <a:off x="373736" y="5612588"/>
            <a:ext cx="3911208" cy="121984"/>
          </a:xfrm>
          <a:custGeom>
            <a:avLst/>
            <a:gdLst>
              <a:gd name="T0" fmla="*/ 20 w 1807"/>
              <a:gd name="T1" fmla="*/ 115 h 116"/>
              <a:gd name="T2" fmla="*/ 20 w 1807"/>
              <a:gd name="T3" fmla="*/ 115 h 116"/>
              <a:gd name="T4" fmla="*/ 1398 w 1807"/>
              <a:gd name="T5" fmla="*/ 50 h 116"/>
              <a:gd name="T6" fmla="*/ 1786 w 1807"/>
              <a:gd name="T7" fmla="*/ 32 h 116"/>
              <a:gd name="T8" fmla="*/ 1786 w 1807"/>
              <a:gd name="T9" fmla="*/ 1 h 116"/>
              <a:gd name="T10" fmla="*/ 409 w 1807"/>
              <a:gd name="T11" fmla="*/ 65 h 116"/>
              <a:gd name="T12" fmla="*/ 21 w 1807"/>
              <a:gd name="T13" fmla="*/ 83 h 116"/>
              <a:gd name="T14" fmla="*/ 20 w 1807"/>
              <a:gd name="T15" fmla="*/ 115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07" h="116">
                <a:moveTo>
                  <a:pt x="20" y="115"/>
                </a:moveTo>
                <a:lnTo>
                  <a:pt x="20" y="115"/>
                </a:lnTo>
                <a:cubicBezTo>
                  <a:pt x="479" y="93"/>
                  <a:pt x="938" y="72"/>
                  <a:pt x="1398" y="50"/>
                </a:cubicBezTo>
                <a:cubicBezTo>
                  <a:pt x="1527" y="44"/>
                  <a:pt x="1656" y="38"/>
                  <a:pt x="1786" y="32"/>
                </a:cubicBezTo>
                <a:cubicBezTo>
                  <a:pt x="1806" y="31"/>
                  <a:pt x="1807" y="0"/>
                  <a:pt x="1786" y="1"/>
                </a:cubicBezTo>
                <a:cubicBezTo>
                  <a:pt x="1327" y="22"/>
                  <a:pt x="868" y="44"/>
                  <a:pt x="409" y="65"/>
                </a:cubicBezTo>
                <a:cubicBezTo>
                  <a:pt x="279" y="71"/>
                  <a:pt x="150" y="77"/>
                  <a:pt x="21" y="83"/>
                </a:cubicBezTo>
                <a:cubicBezTo>
                  <a:pt x="0" y="84"/>
                  <a:pt x="0" y="116"/>
                  <a:pt x="20" y="115"/>
                </a:cubicBez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3098" y="1758853"/>
            <a:ext cx="7483539" cy="4410913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915" y="3699615"/>
            <a:ext cx="2931414" cy="1222978"/>
          </a:xfrm>
          <a:prstGeom prst="rect">
            <a:avLst/>
          </a:prstGeom>
        </p:spPr>
      </p:pic>
      <p:sp>
        <p:nvSpPr>
          <p:cNvPr id="15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9863667" y="6509982"/>
            <a:ext cx="1799766" cy="360000"/>
          </a:xfrm>
        </p:spPr>
        <p:txBody>
          <a:bodyPr anchor="ctr"/>
          <a:lstStyle/>
          <a:p>
            <a:pPr algn="r" defTabSz="1219048">
              <a:buClrTx/>
              <a:buSzTx/>
              <a:defRPr/>
            </a:pPr>
            <a:fld id="{733122C9-A0B9-462F-8757-0847AD287B63}" type="slidenum">
              <a:rPr lang="fr-FR" sz="105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1219048">
                <a:buClrTx/>
                <a:buSzTx/>
                <a:defRPr/>
              </a:pPr>
              <a:t>5</a:t>
            </a:fld>
            <a:endParaRPr lang="fr-FR" sz="105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0680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qfHVet9UKKoFW1NL9C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gNhAc3ck.ONkytiBi_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qfHVet9UKKoFW1NL9C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BmCucEGtJY7EMcGm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qfHVet9UKKoFW1NL9C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gNhAc3ck.ONkytiBi_iQ"/>
</p:tagLst>
</file>

<file path=ppt/theme/theme1.xml><?xml version="1.0" encoding="utf-8"?>
<a:theme xmlns:a="http://schemas.openxmlformats.org/drawingml/2006/main" name="DGS_Titre Principal Présentatio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PLATE_INTITULE_OFFIC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6" id="{25DB2D80-B418-C445-B794-8EFE4AC572D3}" vid="{D7C109EF-1FF6-B140-BAA4-C929A0D91960}"/>
    </a:ext>
  </a:extLst>
</a:theme>
</file>

<file path=ppt/theme/theme3.xml><?xml version="1.0" encoding="utf-8"?>
<a:theme xmlns:a="http://schemas.openxmlformats.org/drawingml/2006/main" name="TEMPLATE_INTITULE_OFFIC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6" id="{25DB2D80-B418-C445-B794-8EFE4AC572D3}" vid="{D7C109EF-1FF6-B140-BAA4-C929A0D91960}"/>
    </a:ext>
  </a:extLst>
</a:theme>
</file>

<file path=ppt/theme/theme4.xml><?xml version="1.0" encoding="utf-8"?>
<a:theme xmlns:a="http://schemas.openxmlformats.org/drawingml/2006/main" name="3_DGS_PagesIntérieures_AvecTitres_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TEMPLATE_INTITULE_OFFIC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6" id="{25DB2D80-B418-C445-B794-8EFE4AC572D3}" vid="{D7C109EF-1FF6-B140-BAA4-C929A0D91960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54CAE375B0284E8EE9BBF3E7A46484" ma:contentTypeVersion="6" ma:contentTypeDescription="Crée un document." ma:contentTypeScope="" ma:versionID="511452b9809657e6815bf4cce2accdc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d8f41ed40e1d7dd031eefd1d81ec7d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 ma:readOnly="true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7E3377A-D9D7-43A3-A75F-3A9E28DF16E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8F84BA6-1E2C-4108-A978-70A67FB76E3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A32EF6D-2949-4E13-AA36-9D24B663BF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37</TotalTime>
  <Words>568</Words>
  <Application>Microsoft Office PowerPoint</Application>
  <PresentationFormat>Personnalisé</PresentationFormat>
  <Paragraphs>41</Paragraphs>
  <Slides>5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5</vt:i4>
      </vt:variant>
      <vt:variant>
        <vt:lpstr>Titres des diapositives</vt:lpstr>
      </vt:variant>
      <vt:variant>
        <vt:i4>5</vt:i4>
      </vt:variant>
    </vt:vector>
  </HeadingPairs>
  <TitlesOfParts>
    <vt:vector size="17" baseType="lpstr">
      <vt:lpstr>Arial</vt:lpstr>
      <vt:lpstr>Arial Narrow</vt:lpstr>
      <vt:lpstr>Calibri</vt:lpstr>
      <vt:lpstr>Cambria</vt:lpstr>
      <vt:lpstr>Candara</vt:lpstr>
      <vt:lpstr>Helvetica Neue</vt:lpstr>
      <vt:lpstr>Wingdings</vt:lpstr>
      <vt:lpstr>DGS_Titre Principal Présentation</vt:lpstr>
      <vt:lpstr>2_TEMPLATE_INTITULE_OFFICIEL</vt:lpstr>
      <vt:lpstr>TEMPLATE_INTITULE_OFFICIEL</vt:lpstr>
      <vt:lpstr>3_DGS_PagesIntérieures_AvecTitres_1</vt:lpstr>
      <vt:lpstr>1_TEMPLATE_INTITULE_OFFICIEL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PPT/D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OMA, Julie (DGS/MICOM)</dc:creator>
  <cp:lastModifiedBy>SAKHO, Moussa (DGS/SG/DAD)</cp:lastModifiedBy>
  <cp:revision>2120</cp:revision>
  <cp:lastPrinted>2018-10-12T12:22:23Z</cp:lastPrinted>
  <dcterms:created xsi:type="dcterms:W3CDTF">2018-09-17T13:21:29Z</dcterms:created>
  <dcterms:modified xsi:type="dcterms:W3CDTF">2022-12-16T16:0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54CAE375B0284E8EE9BBF3E7A46484</vt:lpwstr>
  </property>
</Properties>
</file>